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 id="2147484269" r:id="rId6"/>
    <p:sldMasterId id="2147484295" r:id="rId7"/>
    <p:sldMasterId id="2147484315" r:id="rId8"/>
    <p:sldMasterId id="2147484731" r:id="rId9"/>
  </p:sldMasterIdLst>
  <p:notesMasterIdLst>
    <p:notesMasterId r:id="rId39"/>
  </p:notesMasterIdLst>
  <p:handoutMasterIdLst>
    <p:handoutMasterId r:id="rId40"/>
  </p:handoutMasterIdLst>
  <p:sldIdLst>
    <p:sldId id="285" r:id="rId10"/>
    <p:sldId id="256" r:id="rId11"/>
    <p:sldId id="257" r:id="rId12"/>
    <p:sldId id="260" r:id="rId13"/>
    <p:sldId id="2208" r:id="rId14"/>
    <p:sldId id="277" r:id="rId15"/>
    <p:sldId id="3764" r:id="rId16"/>
    <p:sldId id="3763" r:id="rId17"/>
    <p:sldId id="369" r:id="rId18"/>
    <p:sldId id="3758" r:id="rId19"/>
    <p:sldId id="1636" r:id="rId20"/>
    <p:sldId id="439" r:id="rId21"/>
    <p:sldId id="3767" r:id="rId22"/>
    <p:sldId id="355" r:id="rId23"/>
    <p:sldId id="2326" r:id="rId24"/>
    <p:sldId id="347" r:id="rId25"/>
    <p:sldId id="357" r:id="rId26"/>
    <p:sldId id="370" r:id="rId27"/>
    <p:sldId id="359" r:id="rId28"/>
    <p:sldId id="368" r:id="rId29"/>
    <p:sldId id="358" r:id="rId30"/>
    <p:sldId id="1885" r:id="rId31"/>
    <p:sldId id="365" r:id="rId32"/>
    <p:sldId id="364" r:id="rId33"/>
    <p:sldId id="273" r:id="rId34"/>
    <p:sldId id="268" r:id="rId35"/>
    <p:sldId id="371" r:id="rId36"/>
    <p:sldId id="373" r:id="rId37"/>
    <p:sldId id="3772" r:id="rId3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E3FCDBE7-16C9-4300-93CE-B2F2DDE9C088}">
          <p14:sldIdLst>
            <p14:sldId id="285"/>
            <p14:sldId id="256"/>
            <p14:sldId id="257"/>
            <p14:sldId id="260"/>
          </p14:sldIdLst>
        </p14:section>
        <p14:section name="Value proposition" id="{24159428-7BEA-446A-B50B-7543132BC3CC}">
          <p14:sldIdLst>
            <p14:sldId id="2208"/>
            <p14:sldId id="277"/>
            <p14:sldId id="3764"/>
          </p14:sldIdLst>
        </p14:section>
        <p14:section name="So what is DevOps?" id="{3BD09B9D-5E3C-4606-BD9C-DB91C5F76B3D}">
          <p14:sldIdLst>
            <p14:sldId id="3763"/>
          </p14:sldIdLst>
        </p14:section>
        <p14:section name="Azure DevOps" id="{DA5F0778-ABDE-4A2B-83E1-DCB5A51DEFE2}">
          <p14:sldIdLst>
            <p14:sldId id="369"/>
            <p14:sldId id="3758"/>
            <p14:sldId id="1636"/>
            <p14:sldId id="439"/>
          </p14:sldIdLst>
        </p14:section>
        <p14:section name="Containerized Workflow" id="{CF9F66BA-D082-49A0-A628-2069E5A9BBFF}">
          <p14:sldIdLst>
            <p14:sldId id="3767"/>
            <p14:sldId id="355"/>
          </p14:sldIdLst>
        </p14:section>
        <p14:section name="Optional: Azure Dev Spaces Overview" id="{55249342-6795-4693-9C95-688F847E65D5}">
          <p14:sldIdLst>
            <p14:sldId id="2326"/>
          </p14:sldIdLst>
        </p14:section>
        <p14:section name="Pipeline for Lab" id="{B7C27321-C23D-4648-9653-146CDFD73118}">
          <p14:sldIdLst>
            <p14:sldId id="347"/>
            <p14:sldId id="357"/>
            <p14:sldId id="370"/>
            <p14:sldId id="359"/>
            <p14:sldId id="368"/>
            <p14:sldId id="358"/>
            <p14:sldId id="1885"/>
            <p14:sldId id="365"/>
            <p14:sldId id="364"/>
          </p14:sldIdLst>
        </p14:section>
        <p14:section name="Conclusion" id="{04EA78E1-F31B-48D0-B9DA-B8F292FB383F}">
          <p14:sldIdLst>
            <p14:sldId id="273"/>
            <p14:sldId id="268"/>
          </p14:sldIdLst>
        </p14:section>
        <p14:section name="Additional Slides" id="{03C01CEC-6146-4533-9CEA-DD103001F141}">
          <p14:sldIdLst>
            <p14:sldId id="371"/>
            <p14:sldId id="373"/>
            <p14:sldId id="377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Mark Short" initials="MS" lastIdx="3" clrIdx="4"/>
  <p:cmAuthor id="5" name="Razi Rais" initials="RR" lastIdx="1"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188F"/>
    <a:srgbClr val="107C10"/>
    <a:srgbClr val="008272"/>
    <a:srgbClr val="B4009E"/>
    <a:srgbClr val="002050"/>
    <a:srgbClr val="00BCF2"/>
    <a:srgbClr val="525252"/>
    <a:srgbClr val="737373"/>
    <a:srgbClr val="E300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996" autoAdjust="0"/>
    <p:restoredTop sz="75793" autoAdjust="0"/>
  </p:normalViewPr>
  <p:slideViewPr>
    <p:cSldViewPr snapToGrid="0">
      <p:cViewPr varScale="1">
        <p:scale>
          <a:sx n="83" d="100"/>
          <a:sy n="83" d="100"/>
        </p:scale>
        <p:origin x="741" y="32"/>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notesMaster" Target="notesMasters/notesMaster1.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microsoft.com/office/2016/11/relationships/changesInfo" Target="changesInfos/changesInfo1.xml"/><Relationship Id="rId20" Type="http://schemas.openxmlformats.org/officeDocument/2006/relationships/slide" Target="slides/slide11.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adeep Nair" userId="de867f30-f0e1-452b-914f-80bb3c85f24b" providerId="ADAL" clId="{ADAFE81B-5F7B-4E6C-8700-FA8E5461F5E1}"/>
    <pc:docChg chg="modSld">
      <pc:chgData name="Pradeep Nair" userId="de867f30-f0e1-452b-914f-80bb3c85f24b" providerId="ADAL" clId="{ADAFE81B-5F7B-4E6C-8700-FA8E5461F5E1}" dt="2021-11-24T15:21:23.947" v="5" actId="20577"/>
      <pc:docMkLst>
        <pc:docMk/>
      </pc:docMkLst>
      <pc:sldChg chg="modSp mod">
        <pc:chgData name="Pradeep Nair" userId="de867f30-f0e1-452b-914f-80bb3c85f24b" providerId="ADAL" clId="{ADAFE81B-5F7B-4E6C-8700-FA8E5461F5E1}" dt="2021-11-24T15:21:23.947" v="5" actId="20577"/>
        <pc:sldMkLst>
          <pc:docMk/>
          <pc:sldMk cId="3581938780" sldId="260"/>
        </pc:sldMkLst>
        <pc:spChg chg="mod">
          <ac:chgData name="Pradeep Nair" userId="de867f30-f0e1-452b-914f-80bb3c85f24b" providerId="ADAL" clId="{ADAFE81B-5F7B-4E6C-8700-FA8E5461F5E1}" dt="2021-11-24T15:21:23.947" v="5" actId="20577"/>
          <ac:spMkLst>
            <pc:docMk/>
            <pc:sldMk cId="3581938780" sldId="260"/>
            <ac:spMk id="3" creationId="{00000000-0000-0000-0000-000000000000}"/>
          </ac:spMkLst>
        </pc:spChg>
      </pc:sldChg>
      <pc:sldChg chg="modNotesTx">
        <pc:chgData name="Pradeep Nair" userId="de867f30-f0e1-452b-914f-80bb3c85f24b" providerId="ADAL" clId="{ADAFE81B-5F7B-4E6C-8700-FA8E5461F5E1}" dt="2021-11-24T03:05:39.460" v="2" actId="20577"/>
        <pc:sldMkLst>
          <pc:docMk/>
          <pc:sldMk cId="400580103" sldId="369"/>
        </pc:sldMkLst>
      </pc:sldChg>
      <pc:sldChg chg="modNotesTx">
        <pc:chgData name="Pradeep Nair" userId="de867f30-f0e1-452b-914f-80bb3c85f24b" providerId="ADAL" clId="{ADAFE81B-5F7B-4E6C-8700-FA8E5461F5E1}" dt="2021-11-24T03:06:01.079" v="4" actId="20577"/>
        <pc:sldMkLst>
          <pc:docMk/>
          <pc:sldMk cId="3216022049" sldId="439"/>
        </pc:sldMkLst>
      </pc:sldChg>
    </pc:docChg>
  </pc:docChgLst>
  <pc:docChgLst>
    <pc:chgData name="Pradeep Nair" userId="de867f30-f0e1-452b-914f-80bb3c85f24b" providerId="ADAL" clId="{EFC1E362-416D-4761-B305-FD57665DC0C8}"/>
    <pc:docChg chg="delSld modSld delSection modSection">
      <pc:chgData name="Pradeep Nair" userId="de867f30-f0e1-452b-914f-80bb3c85f24b" providerId="ADAL" clId="{EFC1E362-416D-4761-B305-FD57665DC0C8}" dt="2021-11-24T15:23:28.443" v="12" actId="17851"/>
      <pc:docMkLst>
        <pc:docMk/>
      </pc:docMkLst>
      <pc:sldChg chg="del">
        <pc:chgData name="Pradeep Nair" userId="de867f30-f0e1-452b-914f-80bb3c85f24b" providerId="ADAL" clId="{EFC1E362-416D-4761-B305-FD57665DC0C8}" dt="2021-11-24T15:23:16.112" v="8" actId="47"/>
        <pc:sldMkLst>
          <pc:docMk/>
          <pc:sldMk cId="2279767777" sldId="1291"/>
        </pc:sldMkLst>
      </pc:sldChg>
      <pc:sldChg chg="del">
        <pc:chgData name="Pradeep Nair" userId="de867f30-f0e1-452b-914f-80bb3c85f24b" providerId="ADAL" clId="{EFC1E362-416D-4761-B305-FD57665DC0C8}" dt="2021-11-24T15:22:53.991" v="5" actId="47"/>
        <pc:sldMkLst>
          <pc:docMk/>
          <pc:sldMk cId="3794068122" sldId="1678"/>
        </pc:sldMkLst>
      </pc:sldChg>
      <pc:sldChg chg="del">
        <pc:chgData name="Pradeep Nair" userId="de867f30-f0e1-452b-914f-80bb3c85f24b" providerId="ADAL" clId="{EFC1E362-416D-4761-B305-FD57665DC0C8}" dt="2021-11-24T15:22:40.591" v="1" actId="47"/>
        <pc:sldMkLst>
          <pc:docMk/>
          <pc:sldMk cId="2731016274" sldId="1816"/>
        </pc:sldMkLst>
      </pc:sldChg>
      <pc:sldChg chg="del">
        <pc:chgData name="Pradeep Nair" userId="de867f30-f0e1-452b-914f-80bb3c85f24b" providerId="ADAL" clId="{EFC1E362-416D-4761-B305-FD57665DC0C8}" dt="2021-11-24T15:22:46.464" v="3" actId="47"/>
        <pc:sldMkLst>
          <pc:docMk/>
          <pc:sldMk cId="2944148658" sldId="1883"/>
        </pc:sldMkLst>
      </pc:sldChg>
      <pc:sldChg chg="mod modShow">
        <pc:chgData name="Pradeep Nair" userId="de867f30-f0e1-452b-914f-80bb3c85f24b" providerId="ADAL" clId="{EFC1E362-416D-4761-B305-FD57665DC0C8}" dt="2021-11-24T15:23:00.692" v="6" actId="729"/>
        <pc:sldMkLst>
          <pc:docMk/>
          <pc:sldMk cId="3610386483" sldId="2326"/>
        </pc:sldMkLst>
      </pc:sldChg>
      <pc:sldChg chg="del">
        <pc:chgData name="Pradeep Nair" userId="de867f30-f0e1-452b-914f-80bb3c85f24b" providerId="ADAL" clId="{EFC1E362-416D-4761-B305-FD57665DC0C8}" dt="2021-11-24T15:22:52.178" v="4" actId="47"/>
        <pc:sldMkLst>
          <pc:docMk/>
          <pc:sldMk cId="1021815406" sldId="3765"/>
        </pc:sldMkLst>
      </pc:sldChg>
      <pc:sldChg chg="del">
        <pc:chgData name="Pradeep Nair" userId="de867f30-f0e1-452b-914f-80bb3c85f24b" providerId="ADAL" clId="{EFC1E362-416D-4761-B305-FD57665DC0C8}" dt="2021-11-24T15:22:45.309" v="2" actId="47"/>
        <pc:sldMkLst>
          <pc:docMk/>
          <pc:sldMk cId="3978119323" sldId="3768"/>
        </pc:sldMkLst>
      </pc:sldChg>
      <pc:sldChg chg="del">
        <pc:chgData name="Pradeep Nair" userId="de867f30-f0e1-452b-914f-80bb3c85f24b" providerId="ADAL" clId="{EFC1E362-416D-4761-B305-FD57665DC0C8}" dt="2021-11-24T15:22:29.038" v="0" actId="47"/>
        <pc:sldMkLst>
          <pc:docMk/>
          <pc:sldMk cId="4177923880" sldId="3769"/>
        </pc:sldMkLst>
      </pc:sldChg>
      <pc:sldChg chg="del">
        <pc:chgData name="Pradeep Nair" userId="de867f30-f0e1-452b-914f-80bb3c85f24b" providerId="ADAL" clId="{EFC1E362-416D-4761-B305-FD57665DC0C8}" dt="2021-11-24T15:23:17.040" v="9" actId="47"/>
        <pc:sldMkLst>
          <pc:docMk/>
          <pc:sldMk cId="1650585052" sldId="3770"/>
        </pc:sldMkLst>
      </pc:sldChg>
      <pc:sldChg chg="del">
        <pc:chgData name="Pradeep Nair" userId="de867f30-f0e1-452b-914f-80bb3c85f24b" providerId="ADAL" clId="{EFC1E362-416D-4761-B305-FD57665DC0C8}" dt="2021-11-24T15:23:14.513" v="7" actId="47"/>
        <pc:sldMkLst>
          <pc:docMk/>
          <pc:sldMk cId="1724918777" sldId="3771"/>
        </pc:sldMkLst>
      </pc:sldChg>
      <pc:sldChg chg="del">
        <pc:chgData name="Pradeep Nair" userId="de867f30-f0e1-452b-914f-80bb3c85f24b" providerId="ADAL" clId="{EFC1E362-416D-4761-B305-FD57665DC0C8}" dt="2021-11-24T15:23:20.379" v="10" actId="47"/>
        <pc:sldMkLst>
          <pc:docMk/>
          <pc:sldMk cId="2512509341" sldId="3773"/>
        </pc:sldMkLst>
      </pc:sldChg>
      <pc:sldMasterChg chg="delSldLayout">
        <pc:chgData name="Pradeep Nair" userId="de867f30-f0e1-452b-914f-80bb3c85f24b" providerId="ADAL" clId="{EFC1E362-416D-4761-B305-FD57665DC0C8}" dt="2021-11-24T15:22:53.991" v="5" actId="47"/>
        <pc:sldMasterMkLst>
          <pc:docMk/>
          <pc:sldMasterMk cId="1790270825" sldId="2147484082"/>
        </pc:sldMasterMkLst>
        <pc:sldLayoutChg chg="del">
          <pc:chgData name="Pradeep Nair" userId="de867f30-f0e1-452b-914f-80bb3c85f24b" providerId="ADAL" clId="{EFC1E362-416D-4761-B305-FD57665DC0C8}" dt="2021-11-24T15:22:53.991" v="5" actId="47"/>
          <pc:sldLayoutMkLst>
            <pc:docMk/>
            <pc:sldMasterMk cId="1790270825" sldId="2147484082"/>
            <pc:sldLayoutMk cId="3130602494" sldId="214748434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D169F5B-6A27-450C-917B-FEA5A9D90751}" type="datetime8">
              <a:rPr lang="en-US" smtClean="0">
                <a:latin typeface="Segoe UI" pitchFamily="34" charset="0"/>
              </a:rPr>
              <a:t>11/24/2021 11:22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101605F0-F4FA-453C-99F4-6D9D6C769866}" type="datetime8">
              <a:rPr lang="en-US" smtClean="0"/>
              <a:t>11/24/2021 11:22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tories.visualstudio.com/devops" TargetMode="External"/><Relationship Id="rId2" Type="http://schemas.openxmlformats.org/officeDocument/2006/relationships/slide" Target="../slides/slide7.xml"/><Relationship Id="rId1" Type="http://schemas.openxmlformats.org/officeDocument/2006/relationships/notesMaster" Target="../notesMasters/notesMaster1.xml"/><Relationship Id="rId5" Type="http://schemas.openxmlformats.org/officeDocument/2006/relationships/hyperlink" Target="https://services.google.com/fh/files/misc/state-of-devops-2019.pdf" TargetMode="External"/><Relationship Id="rId4" Type="http://schemas.openxmlformats.org/officeDocument/2006/relationships/hyperlink" Target="https://docs.microsoft.com/en-us/learn/modules/explain-devops-continous-delivery-quality/2-use-continuous-delivery-release-faster"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9BE9619-BA64-40C0-8165-016A18E6744E}" type="datetime8">
              <a:rPr lang="en-US" smtClean="0"/>
              <a:t>11/24/2021 11:2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3510829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o does TFS</a:t>
            </a:r>
          </a:p>
        </p:txBody>
      </p:sp>
      <p:sp>
        <p:nvSpPr>
          <p:cNvPr id="4" name="Slide Number Placeholder 3"/>
          <p:cNvSpPr>
            <a:spLocks noGrp="1"/>
          </p:cNvSpPr>
          <p:nvPr>
            <p:ph type="sldNum" sz="quarter" idx="5"/>
          </p:nvPr>
        </p:nvSpPr>
        <p:spPr/>
        <p:txBody>
          <a:bodyPr/>
          <a:lstStyle/>
          <a:p>
            <a:fld id="{3D7B9D4F-5F19-438C-92E8-037C6AE8F87D}" type="slidenum">
              <a:rPr lang="en-US" smtClean="0"/>
              <a:t>10</a:t>
            </a:fld>
            <a:endParaRPr lang="en-US"/>
          </a:p>
        </p:txBody>
      </p:sp>
    </p:spTree>
    <p:extLst>
      <p:ext uri="{BB962C8B-B14F-4D97-AF65-F5344CB8AC3E}">
        <p14:creationId xmlns:p14="http://schemas.microsoft.com/office/powerpoint/2010/main" val="31339688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ing other technology? That’s fine! Azure DevOps is a great integrator. Integrate the components that you already have and leverage those that you don’t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24406652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evOps brings together people, processes, and technology, automating software delivery to provide continuous value to your user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Using Azure DevOps, you can deliver software faster and more reliably - no matter how big your IT department or what tools you’re using.</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1834597" eaLnBrk="0" hangingPunct="0"/>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11/24/2021 11:2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9965210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is an example of </a:t>
            </a:r>
            <a:r>
              <a:rPr lang="en-US" b="1"/>
              <a:t>CI/CD pipeline for containerized application</a:t>
            </a:r>
            <a:r>
              <a:rPr lang="en-US"/>
              <a:t>.</a:t>
            </a:r>
          </a:p>
          <a:p>
            <a:endParaRPr lang="en-US"/>
          </a:p>
          <a:p>
            <a:r>
              <a:rPr lang="en-US"/>
              <a:t>From the </a:t>
            </a:r>
            <a:r>
              <a:rPr lang="en-US" b="1"/>
              <a:t>Dev box </a:t>
            </a:r>
            <a:r>
              <a:rPr lang="en-US"/>
              <a:t>=&gt; </a:t>
            </a:r>
            <a:r>
              <a:rPr lang="en-US" b="1"/>
              <a:t>build/run/test container</a:t>
            </a:r>
          </a:p>
          <a:p>
            <a:r>
              <a:rPr lang="en-US" b="1"/>
              <a:t>Push</a:t>
            </a:r>
            <a:r>
              <a:rPr lang="en-US"/>
              <a:t> code to </a:t>
            </a:r>
            <a:r>
              <a:rPr lang="en-US" b="1"/>
              <a:t>Source Control </a:t>
            </a:r>
            <a:r>
              <a:rPr lang="en-US"/>
              <a:t>tool (Git) =&gt; at bottom left corner</a:t>
            </a:r>
          </a:p>
          <a:p>
            <a:r>
              <a:rPr lang="en-US"/>
              <a:t>Repository lives in a  Visual Studio Team Services (or Jenkins) environment</a:t>
            </a:r>
          </a:p>
          <a:p>
            <a:endParaRPr lang="en-US"/>
          </a:p>
          <a:p>
            <a:r>
              <a:rPr lang="en-US" b="0"/>
              <a:t>Your</a:t>
            </a:r>
            <a:r>
              <a:rPr lang="en-US" b="1"/>
              <a:t> Push triggers a build </a:t>
            </a:r>
            <a:r>
              <a:rPr lang="en-US"/>
              <a:t>which will:</a:t>
            </a:r>
          </a:p>
          <a:p>
            <a:pPr marL="171450" indent="-171450">
              <a:buFontTx/>
              <a:buChar char="-"/>
            </a:pPr>
            <a:r>
              <a:rPr lang="en-US" b="1"/>
              <a:t>Build</a:t>
            </a:r>
            <a:r>
              <a:rPr lang="en-US"/>
              <a:t> the container</a:t>
            </a:r>
          </a:p>
          <a:p>
            <a:pPr marL="171450" indent="-171450">
              <a:buFontTx/>
              <a:buChar char="-"/>
            </a:pPr>
            <a:r>
              <a:rPr lang="en-US" b="1"/>
              <a:t>Push</a:t>
            </a:r>
            <a:r>
              <a:rPr lang="en-US"/>
              <a:t> it to Registry</a:t>
            </a:r>
          </a:p>
          <a:p>
            <a:pPr marL="171450" indent="-171450">
              <a:buFontTx/>
              <a:buChar char="-"/>
            </a:pPr>
            <a:r>
              <a:rPr lang="en-US" b="1"/>
              <a:t>Pull</a:t>
            </a:r>
            <a:r>
              <a:rPr lang="en-US"/>
              <a:t> the container</a:t>
            </a:r>
          </a:p>
          <a:p>
            <a:pPr marL="171450" indent="-171450">
              <a:buFontTx/>
              <a:buChar char="-"/>
            </a:pPr>
            <a:r>
              <a:rPr lang="en-US" b="1"/>
              <a:t>Test</a:t>
            </a:r>
            <a:r>
              <a:rPr lang="en-US"/>
              <a:t> the container</a:t>
            </a:r>
          </a:p>
          <a:p>
            <a:pPr marL="171450" indent="-171450">
              <a:buFontTx/>
              <a:buChar char="-"/>
            </a:pPr>
            <a:endParaRPr lang="en-US"/>
          </a:p>
          <a:p>
            <a:pPr marL="0" indent="0">
              <a:buFontTx/>
              <a:buNone/>
            </a:pPr>
            <a:r>
              <a:rPr lang="en-US"/>
              <a:t>After every </a:t>
            </a:r>
            <a:r>
              <a:rPr lang="en-US" b="1"/>
              <a:t>successful build</a:t>
            </a:r>
          </a:p>
          <a:p>
            <a:pPr marL="171450" indent="-171450">
              <a:buFontTx/>
              <a:buChar char="-"/>
            </a:pPr>
            <a:r>
              <a:rPr lang="en-US" b="1"/>
              <a:t>Automatic deployment to Pre Prod</a:t>
            </a:r>
            <a:r>
              <a:rPr lang="en-US"/>
              <a:t> environment: ACS, Service Fabric, … </a:t>
            </a:r>
          </a:p>
          <a:p>
            <a:pPr marL="171450" indent="-171450">
              <a:buFontTx/>
              <a:buChar char="-"/>
            </a:pPr>
            <a:r>
              <a:rPr lang="en-US" b="1"/>
              <a:t>Pull</a:t>
            </a:r>
            <a:r>
              <a:rPr lang="en-US"/>
              <a:t> container from registry</a:t>
            </a:r>
          </a:p>
          <a:p>
            <a:pPr marL="171450" indent="-171450">
              <a:buFontTx/>
              <a:buChar char="-"/>
            </a:pPr>
            <a:r>
              <a:rPr lang="en-US" b="1"/>
              <a:t>Run</a:t>
            </a:r>
            <a:r>
              <a:rPr lang="en-US"/>
              <a:t> Acceptation test</a:t>
            </a:r>
          </a:p>
          <a:p>
            <a:pPr marL="171450" indent="-171450">
              <a:buFontTx/>
              <a:buChar char="-"/>
            </a:pPr>
            <a:endParaRPr lang="en-US"/>
          </a:p>
          <a:p>
            <a:pPr marL="0" indent="0">
              <a:buFontTx/>
              <a:buNone/>
            </a:pPr>
            <a:r>
              <a:rPr lang="en-US" b="1"/>
              <a:t>Every morning (scheduled)</a:t>
            </a:r>
          </a:p>
          <a:p>
            <a:pPr marL="171450" indent="-171450">
              <a:buFontTx/>
              <a:buChar char="-"/>
            </a:pPr>
            <a:r>
              <a:rPr lang="en-US" b="1"/>
              <a:t>Automatic deployment into Prod</a:t>
            </a:r>
          </a:p>
          <a:p>
            <a:pPr marL="171450" indent="-171450">
              <a:buFontTx/>
              <a:buChar char="-"/>
            </a:pPr>
            <a:r>
              <a:rPr lang="en-US" b="1"/>
              <a:t>Pull</a:t>
            </a:r>
            <a:r>
              <a:rPr lang="en-US"/>
              <a:t> container from registry</a:t>
            </a:r>
          </a:p>
          <a:p>
            <a:pPr marL="171450" indent="-171450">
              <a:buFontTx/>
              <a:buChar char="-"/>
            </a:pPr>
            <a:r>
              <a:rPr lang="en-US" b="1"/>
              <a:t>Run</a:t>
            </a:r>
            <a:r>
              <a:rPr lang="en-US"/>
              <a:t> Acceptation test</a:t>
            </a:r>
          </a:p>
          <a:p>
            <a:pPr marL="171450" indent="-171450">
              <a:buFontTx/>
              <a:buChar char="-"/>
            </a:pPr>
            <a:endParaRPr lang="en-US"/>
          </a:p>
          <a:p>
            <a:pPr marL="0" indent="0">
              <a:buFontTx/>
              <a:buNone/>
            </a:pPr>
            <a:r>
              <a:rPr lang="en-US" b="1"/>
              <a:t>Manual</a:t>
            </a:r>
            <a:r>
              <a:rPr lang="en-US"/>
              <a:t> validation =&gt; From </a:t>
            </a:r>
            <a:r>
              <a:rPr lang="en-US" b="1"/>
              <a:t>Dev box -&gt; </a:t>
            </a:r>
            <a:r>
              <a:rPr lang="en-US" sz="900" b="1" kern="1200">
                <a:solidFill>
                  <a:schemeClr val="tx1"/>
                </a:solidFill>
                <a:effectLst/>
                <a:latin typeface="Segoe UI Light" pitchFamily="34" charset="0"/>
                <a:ea typeface="+mn-ea"/>
                <a:cs typeface="+mn-cs"/>
              </a:rPr>
              <a:t>monitoring</a:t>
            </a:r>
            <a:r>
              <a:rPr lang="en-US" sz="900" kern="1200">
                <a:solidFill>
                  <a:schemeClr val="tx1"/>
                </a:solidFill>
                <a:effectLst/>
                <a:latin typeface="Segoe UI Light" pitchFamily="34" charset="0"/>
                <a:ea typeface="+mn-ea"/>
                <a:cs typeface="+mn-cs"/>
              </a:rPr>
              <a:t> through </a:t>
            </a:r>
            <a:r>
              <a:rPr lang="en-US" sz="900" b="1" kern="1200">
                <a:solidFill>
                  <a:schemeClr val="tx1"/>
                </a:solidFill>
                <a:effectLst/>
                <a:latin typeface="Segoe UI Light" pitchFamily="34" charset="0"/>
                <a:ea typeface="+mn-ea"/>
                <a:cs typeface="+mn-cs"/>
              </a:rPr>
              <a:t>App insights </a:t>
            </a:r>
            <a:r>
              <a:rPr lang="en-US" sz="900" b="0" kern="1200">
                <a:solidFill>
                  <a:schemeClr val="tx1"/>
                </a:solidFill>
                <a:effectLst/>
                <a:latin typeface="Segoe UI Light" pitchFamily="34" charset="0"/>
                <a:ea typeface="+mn-ea"/>
                <a:cs typeface="+mn-cs"/>
              </a:rPr>
              <a:t>or</a:t>
            </a:r>
            <a:r>
              <a:rPr lang="en-US" sz="900" b="1" kern="1200">
                <a:solidFill>
                  <a:schemeClr val="tx1"/>
                </a:solidFill>
                <a:effectLst/>
                <a:latin typeface="Segoe UI Light" pitchFamily="34" charset="0"/>
                <a:ea typeface="+mn-ea"/>
                <a:cs typeface="+mn-cs"/>
              </a:rPr>
              <a:t> OMS (Operation Management suite) =&gt; last lab</a:t>
            </a:r>
          </a:p>
          <a:p>
            <a:pPr marL="0" indent="0">
              <a:buFontTx/>
              <a:buNone/>
            </a:pPr>
            <a:r>
              <a:rPr lang="en-US" sz="900" b="1" kern="1200">
                <a:solidFill>
                  <a:schemeClr val="tx1"/>
                </a:solidFill>
                <a:effectLst/>
                <a:latin typeface="Segoe UI Light" pitchFamily="34" charset="0"/>
                <a:ea typeface="+mn-ea"/>
                <a:cs typeface="+mn-cs"/>
              </a:rPr>
              <a:t> </a:t>
            </a:r>
          </a:p>
          <a:p>
            <a:pPr marL="0" indent="0">
              <a:buFontTx/>
              <a:buNone/>
            </a:pPr>
            <a:r>
              <a:rPr lang="en-US" sz="900" b="1" kern="1200">
                <a:solidFill>
                  <a:schemeClr val="tx1"/>
                </a:solidFill>
                <a:effectLst/>
                <a:latin typeface="Segoe UI Light" pitchFamily="34" charset="0"/>
                <a:ea typeface="+mn-ea"/>
                <a:cs typeface="+mn-cs"/>
              </a:rPr>
              <a:t>OMS </a:t>
            </a:r>
            <a:r>
              <a:rPr lang="en-US" sz="900" b="1" kern="1200">
                <a:solidFill>
                  <a:schemeClr val="tx1"/>
                </a:solidFill>
                <a:effectLst/>
                <a:latin typeface="Segoe UI Light" pitchFamily="34" charset="0"/>
                <a:ea typeface="+mn-ea"/>
                <a:cs typeface="+mn-cs"/>
                <a:sym typeface="Wingdings" panose="05000000000000000000" pitchFamily="2" charset="2"/>
              </a:rPr>
              <a:t> System Center for the Cloud (same team working on it.)</a:t>
            </a:r>
            <a:endParaRPr lang="en-US" b="1"/>
          </a:p>
          <a:p>
            <a:pPr marL="171450" indent="-171450">
              <a:buFontTx/>
              <a:buChar char="-"/>
            </a:pPr>
            <a:endParaRPr lang="en-US"/>
          </a:p>
          <a:p>
            <a:pPr marL="171450" indent="-171450">
              <a:buFontTx/>
              <a:buChar char="-"/>
            </a:pPr>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11/24/2021 11:2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17787456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1"/>
              <a:t>We will be doing this on AKS and SF </a:t>
            </a:r>
            <a:r>
              <a:rPr lang="en-US"/>
              <a:t>but essentially that’s is the </a:t>
            </a:r>
            <a:r>
              <a:rPr lang="en-US" b="1"/>
              <a:t>same approach in any hosting platform: </a:t>
            </a:r>
            <a:r>
              <a:rPr lang="en-US" b="0"/>
              <a:t>App Service, Kubernetes on premises (or in any Cloud providers)…</a:t>
            </a:r>
          </a:p>
          <a:p>
            <a:endParaRPr lang="en-US"/>
          </a:p>
          <a:p>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11/24/2021 11:2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1303406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0"/>
              <a:t>Overview of the CI/CD pipeline we will be building using Azure DevOps </a:t>
            </a:r>
            <a:endParaRPr lang="en-US"/>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01605F0-F4FA-453C-99F4-6D9D6C769866}" type="datetime8">
              <a:rPr lang="en-US" smtClean="0"/>
              <a:t>11/24/2021 11:2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5051428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lease refer</a:t>
            </a:r>
            <a:r>
              <a:rPr lang="en-US" baseline="0"/>
              <a:t> to </a:t>
            </a:r>
            <a:r>
              <a:rPr lang="en-US" b="1" baseline="0"/>
              <a:t>Module 6 – Demos </a:t>
            </a:r>
            <a:r>
              <a:rPr lang="en-US" baseline="0"/>
              <a:t>document section </a:t>
            </a:r>
            <a:r>
              <a:rPr lang="en-US" b="1" baseline="0"/>
              <a:t>Demo 2 </a:t>
            </a:r>
            <a:r>
              <a:rPr lang="en-US" baseline="0"/>
              <a:t>for detail instructions about the demo.</a:t>
            </a: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230301A-B573-43F6-ACF9-3EFAE5786565}" type="datetime8">
              <a:rPr lang="en-US" smtClean="0"/>
              <a:t>11/24/2021 11:2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11873393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Agents</a:t>
            </a:r>
            <a:r>
              <a:rPr lang="en-US"/>
              <a:t> are needed to </a:t>
            </a:r>
            <a:r>
              <a:rPr lang="en-US" b="1"/>
              <a:t>build, deploy and test </a:t>
            </a:r>
            <a:r>
              <a:rPr lang="en-US"/>
              <a:t>your code.</a:t>
            </a:r>
          </a:p>
          <a:p>
            <a:endParaRPr lang="en-US"/>
          </a:p>
          <a:p>
            <a:r>
              <a:rPr lang="en-US" b="1"/>
              <a:t>Private Agents</a:t>
            </a:r>
            <a:r>
              <a:rPr lang="en-US"/>
              <a:t>: </a:t>
            </a:r>
            <a:r>
              <a:rPr lang="en-US" b="1"/>
              <a:t>You control/manage </a:t>
            </a:r>
            <a:r>
              <a:rPr lang="en-US"/>
              <a:t>them</a:t>
            </a:r>
          </a:p>
          <a:p>
            <a:endParaRPr lang="en-US"/>
          </a:p>
          <a:p>
            <a:r>
              <a:rPr lang="en-US" b="1"/>
              <a:t>Hosted Agent</a:t>
            </a:r>
            <a:r>
              <a:rPr lang="en-US"/>
              <a:t>: Managed/Controlled </a:t>
            </a:r>
            <a:r>
              <a:rPr lang="en-US" b="1"/>
              <a:t>by Microsoft</a:t>
            </a:r>
          </a:p>
          <a:p>
            <a:endParaRPr lang="en-US"/>
          </a:p>
          <a:p>
            <a:r>
              <a:rPr lang="en-US"/>
              <a:t>Amongst hosted agents, your have </a:t>
            </a:r>
            <a:r>
              <a:rPr lang="en-US" b="1"/>
              <a:t>Linux and Windows hosted agents</a:t>
            </a:r>
            <a:r>
              <a:rPr lang="en-US"/>
              <a:t>.</a:t>
            </a:r>
          </a:p>
          <a:p>
            <a:endParaRPr lang="en-US"/>
          </a:p>
          <a:p>
            <a:pPr marL="171450" indent="-171450">
              <a:buFont typeface="Symbol" panose="05050102010706020507" pitchFamily="18" charset="2"/>
              <a:buChar char="Þ"/>
            </a:pPr>
            <a:r>
              <a:rPr lang="en-US"/>
              <a:t>Recommendation: </a:t>
            </a:r>
            <a:r>
              <a:rPr lang="en-US" b="1"/>
              <a:t>Use Hosted </a:t>
            </a:r>
            <a:r>
              <a:rPr lang="en-US"/>
              <a:t>unless you cannot</a:t>
            </a:r>
          </a:p>
          <a:p>
            <a:pPr marL="171450" indent="-171450">
              <a:buFont typeface="Symbol" panose="05050102010706020507" pitchFamily="18" charset="2"/>
              <a:buChar char="Þ"/>
            </a:pPr>
            <a:endParaRPr lang="en-US"/>
          </a:p>
          <a:p>
            <a:pPr marL="0" indent="0">
              <a:buFont typeface="Symbol" panose="05050102010706020507" pitchFamily="18" charset="2"/>
              <a:buNone/>
            </a:pPr>
            <a:r>
              <a:rPr lang="en-US"/>
              <a:t>Note: </a:t>
            </a:r>
            <a:r>
              <a:rPr lang="en-US" err="1"/>
              <a:t>vsts</a:t>
            </a:r>
            <a:r>
              <a:rPr lang="en-US"/>
              <a:t>-agent image</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11/24/2021 11:2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5984083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11/24/2021 11:2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12702902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ft hand side: </a:t>
            </a:r>
          </a:p>
          <a:p>
            <a:endParaRPr lang="en-US"/>
          </a:p>
          <a:p>
            <a:pPr marL="171450" indent="-171450">
              <a:buFontTx/>
              <a:buChar char="-"/>
            </a:pPr>
            <a:r>
              <a:rPr lang="en-US" b="1"/>
              <a:t>Code repository </a:t>
            </a:r>
          </a:p>
          <a:p>
            <a:pPr marL="171450" indent="-171450">
              <a:buFontTx/>
              <a:buChar char="-"/>
            </a:pPr>
            <a:r>
              <a:rPr lang="en-US" b="1"/>
              <a:t>Branch</a:t>
            </a:r>
            <a:r>
              <a:rPr lang="en-US"/>
              <a:t> selected =&gt; master</a:t>
            </a:r>
          </a:p>
          <a:p>
            <a:pPr marL="0" indent="0">
              <a:buFontTx/>
              <a:buNone/>
            </a:pPr>
            <a:endParaRPr lang="en-US"/>
          </a:p>
          <a:p>
            <a:pPr marL="0" indent="0">
              <a:buFontTx/>
              <a:buNone/>
            </a:pPr>
            <a:r>
              <a:rPr lang="en-US"/>
              <a:t>Center:</a:t>
            </a:r>
          </a:p>
          <a:p>
            <a:pPr marL="171450" indent="-171450">
              <a:buFontTx/>
              <a:buChar char="-"/>
            </a:pPr>
            <a:r>
              <a:rPr lang="en-US" b="1"/>
              <a:t>Change</a:t>
            </a:r>
            <a:r>
              <a:rPr lang="en-US"/>
              <a:t> to branch </a:t>
            </a:r>
            <a:r>
              <a:rPr lang="en-US" b="1"/>
              <a:t>triggers build</a:t>
            </a:r>
          </a:p>
          <a:p>
            <a:pPr marL="171450" indent="-171450">
              <a:buFontTx/>
              <a:buChar char="-"/>
            </a:pPr>
            <a:endParaRPr lang="en-US"/>
          </a:p>
          <a:p>
            <a:pPr marL="0" indent="0">
              <a:buFontTx/>
              <a:buNone/>
            </a:pPr>
            <a:r>
              <a:rPr lang="en-US"/>
              <a:t>Right:</a:t>
            </a:r>
          </a:p>
          <a:p>
            <a:pPr marL="171450" indent="-171450">
              <a:buFontTx/>
              <a:buChar char="-"/>
            </a:pPr>
            <a:r>
              <a:rPr lang="en-US" b="1"/>
              <a:t>Build</a:t>
            </a:r>
            <a:r>
              <a:rPr lang="en-US"/>
              <a:t> can be </a:t>
            </a:r>
            <a:r>
              <a:rPr lang="en-US" b="1"/>
              <a:t>scheduled</a:t>
            </a:r>
            <a:r>
              <a:rPr lang="en-US"/>
              <a:t> on week days at certain hour.</a:t>
            </a:r>
          </a:p>
          <a:p>
            <a:pPr marL="0" indent="0">
              <a:buFontTx/>
              <a:buNone/>
            </a:pPr>
            <a:endParaRPr lang="en-US"/>
          </a:p>
          <a:p>
            <a:pPr marL="0" indent="0">
              <a:buFontTx/>
              <a:buNone/>
            </a:pPr>
            <a:endParaRPr lang="en-US"/>
          </a:p>
          <a:p>
            <a:pPr marL="171450" indent="-171450">
              <a:buFontTx/>
              <a:buChar char="-"/>
            </a:pPr>
            <a:r>
              <a:rPr lang="en-US"/>
              <a:t>It can also be triggered </a:t>
            </a:r>
            <a:r>
              <a:rPr lang="en-US" b="1"/>
              <a:t>on-demand</a:t>
            </a:r>
            <a:r>
              <a:rPr lang="en-US"/>
              <a:t>.</a:t>
            </a:r>
          </a:p>
          <a:p>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11/24/2021 11:2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9602549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246A9EF-3626-460F-A60F-CFEBBFCF0906}" type="datetime8">
              <a:rPr lang="en-US" smtClean="0"/>
              <a:t>11/24/2021 11:2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5255321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a:t>Please refer</a:t>
            </a:r>
            <a:r>
              <a:rPr lang="en-US" baseline="0"/>
              <a:t> to </a:t>
            </a:r>
            <a:r>
              <a:rPr lang="en-US" b="1" baseline="0"/>
              <a:t>Module 6 – Demos </a:t>
            </a:r>
            <a:r>
              <a:rPr lang="en-US" baseline="0"/>
              <a:t>document section </a:t>
            </a:r>
            <a:r>
              <a:rPr lang="en-US" b="1" baseline="0"/>
              <a:t>Demo 3 </a:t>
            </a:r>
            <a:r>
              <a:rPr lang="en-US" baseline="0"/>
              <a:t>for detail instructions about the demo.</a:t>
            </a: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230301A-B573-43F6-ACF9-3EFAE5786565}" type="datetime8">
              <a:rPr lang="en-US" smtClean="0"/>
              <a:t>11/24/2021 11:2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7390267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Release pipeline </a:t>
            </a:r>
            <a:r>
              <a:rPr lang="en-US"/>
              <a:t>=&gt; </a:t>
            </a:r>
            <a:r>
              <a:rPr lang="en-US" b="1"/>
              <a:t>deploy</a:t>
            </a:r>
            <a:r>
              <a:rPr lang="en-US"/>
              <a:t> what has been built</a:t>
            </a:r>
          </a:p>
          <a:p>
            <a:endParaRPr lang="en-US"/>
          </a:p>
          <a:p>
            <a:r>
              <a:rPr lang="en-US"/>
              <a:t>Left:</a:t>
            </a:r>
          </a:p>
          <a:p>
            <a:pPr marL="171450" indent="-171450">
              <a:buFontTx/>
              <a:buChar char="-"/>
            </a:pPr>
            <a:r>
              <a:rPr lang="en-US" b="1"/>
              <a:t>Kubernetes</a:t>
            </a:r>
            <a:r>
              <a:rPr lang="en-US"/>
              <a:t> cluster </a:t>
            </a:r>
            <a:r>
              <a:rPr lang="en-US" b="1"/>
              <a:t>in AKS </a:t>
            </a:r>
            <a:r>
              <a:rPr lang="en-US"/>
              <a:t>=&gt; built-in </a:t>
            </a:r>
            <a:r>
              <a:rPr lang="en-US" err="1"/>
              <a:t>kubectl</a:t>
            </a:r>
            <a:r>
              <a:rPr lang="en-US"/>
              <a:t> task </a:t>
            </a:r>
            <a:r>
              <a:rPr lang="en-US" b="1" err="1"/>
              <a:t>kubectl</a:t>
            </a:r>
            <a:r>
              <a:rPr lang="en-US" b="1"/>
              <a:t> apply </a:t>
            </a:r>
            <a:r>
              <a:rPr lang="en-US" b="1" err="1"/>
              <a:t>yaml</a:t>
            </a:r>
            <a:r>
              <a:rPr lang="en-US" b="1"/>
              <a:t> files </a:t>
            </a:r>
            <a:r>
              <a:rPr lang="en-US" b="1">
                <a:sym typeface="Wingdings" panose="05000000000000000000" pitchFamily="2" charset="2"/>
              </a:rPr>
              <a:t> </a:t>
            </a:r>
            <a:r>
              <a:rPr lang="en-US" b="0">
                <a:sym typeface="Wingdings" panose="05000000000000000000" pitchFamily="2" charset="2"/>
              </a:rPr>
              <a:t>what we did in </a:t>
            </a:r>
            <a:r>
              <a:rPr lang="en-US" b="1">
                <a:sym typeface="Wingdings" panose="05000000000000000000" pitchFamily="2" charset="2"/>
              </a:rPr>
              <a:t>previous lab </a:t>
            </a:r>
            <a:r>
              <a:rPr lang="en-US" b="0">
                <a:sym typeface="Wingdings" panose="05000000000000000000" pitchFamily="2" charset="2"/>
              </a:rPr>
              <a:t>in command line</a:t>
            </a:r>
          </a:p>
          <a:p>
            <a:pPr marL="171450" indent="-171450">
              <a:buFontTx/>
              <a:buChar char="-"/>
            </a:pPr>
            <a:endParaRPr lang="en-US" b="0">
              <a:sym typeface="Wingdings" panose="05000000000000000000" pitchFamily="2" charset="2"/>
            </a:endParaRPr>
          </a:p>
          <a:p>
            <a:pPr marL="0" indent="0">
              <a:buFontTx/>
              <a:buNone/>
            </a:pPr>
            <a:r>
              <a:rPr lang="en-US" b="0">
                <a:sym typeface="Wingdings" panose="05000000000000000000" pitchFamily="2" charset="2"/>
              </a:rPr>
              <a:t>Right:</a:t>
            </a:r>
          </a:p>
          <a:p>
            <a:pPr marL="0" indent="0">
              <a:buFontTx/>
              <a:buNone/>
            </a:pPr>
            <a:r>
              <a:rPr lang="en-US" b="0">
                <a:sym typeface="Wingdings" panose="05000000000000000000" pitchFamily="2" charset="2"/>
              </a:rPr>
              <a:t>- Docker </a:t>
            </a:r>
            <a:r>
              <a:rPr lang="en-US" b="1">
                <a:sym typeface="Wingdings" panose="05000000000000000000" pitchFamily="2" charset="2"/>
              </a:rPr>
              <a:t>Swarm </a:t>
            </a:r>
            <a:r>
              <a:rPr lang="en-US" b="0">
                <a:sym typeface="Wingdings" panose="05000000000000000000" pitchFamily="2" charset="2"/>
              </a:rPr>
              <a:t>cluster in </a:t>
            </a:r>
            <a:r>
              <a:rPr lang="en-US" b="1">
                <a:sym typeface="Wingdings" panose="05000000000000000000" pitchFamily="2" charset="2"/>
              </a:rPr>
              <a:t>ACS</a:t>
            </a:r>
            <a:r>
              <a:rPr lang="en-US" b="0">
                <a:sym typeface="Wingdings" panose="05000000000000000000" pitchFamily="2" charset="2"/>
              </a:rPr>
              <a:t> =&gt; </a:t>
            </a:r>
            <a:r>
              <a:rPr lang="en-US" b="1">
                <a:sym typeface="Wingdings" panose="05000000000000000000" pitchFamily="2" charset="2"/>
              </a:rPr>
              <a:t>command line script </a:t>
            </a:r>
            <a:r>
              <a:rPr lang="en-US" b="0">
                <a:sym typeface="Wingdings" panose="05000000000000000000" pitchFamily="2" charset="2"/>
              </a:rPr>
              <a:t>to be </a:t>
            </a:r>
            <a:r>
              <a:rPr lang="en-US" b="1">
                <a:sym typeface="Wingdings" panose="05000000000000000000" pitchFamily="2" charset="2"/>
              </a:rPr>
              <a:t>run remotely on </a:t>
            </a:r>
            <a:r>
              <a:rPr lang="en-US" b="0">
                <a:sym typeface="Wingdings" panose="05000000000000000000" pitchFamily="2" charset="2"/>
              </a:rPr>
              <a:t>Swarm </a:t>
            </a:r>
            <a:r>
              <a:rPr lang="en-US" b="1">
                <a:sym typeface="Wingdings" panose="05000000000000000000" pitchFamily="2" charset="2"/>
              </a:rPr>
              <a:t>master</a:t>
            </a:r>
            <a:r>
              <a:rPr lang="en-US" b="0">
                <a:sym typeface="Wingdings" panose="05000000000000000000" pitchFamily="2" charset="2"/>
              </a:rPr>
              <a:t>  </a:t>
            </a:r>
            <a:r>
              <a:rPr lang="en-US" b="1">
                <a:sym typeface="Wingdings" panose="05000000000000000000" pitchFamily="2" charset="2"/>
              </a:rPr>
              <a:t>previous lab</a:t>
            </a:r>
            <a:r>
              <a:rPr lang="en-US" b="0">
                <a:sym typeface="Wingdings" panose="05000000000000000000" pitchFamily="2" charset="2"/>
              </a:rPr>
              <a:t>.</a:t>
            </a:r>
          </a:p>
          <a:p>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11/24/2021 11:2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14954737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a:t>
            </a:r>
            <a:r>
              <a:rPr lang="en-US" b="1"/>
              <a:t>trigger</a:t>
            </a:r>
            <a:r>
              <a:rPr lang="en-US"/>
              <a:t> continuous deployment:</a:t>
            </a:r>
          </a:p>
          <a:p>
            <a:endParaRPr lang="en-US"/>
          </a:p>
          <a:p>
            <a:pPr marL="171450" indent="-171450">
              <a:buFontTx/>
              <a:buChar char="-"/>
            </a:pPr>
            <a:r>
              <a:rPr lang="en-US" b="1"/>
              <a:t>After a given build</a:t>
            </a:r>
          </a:p>
          <a:p>
            <a:pPr marL="171450" indent="-171450">
              <a:buFontTx/>
              <a:buChar char="-"/>
            </a:pPr>
            <a:r>
              <a:rPr lang="en-US" b="1"/>
              <a:t>Scheduled</a:t>
            </a:r>
          </a:p>
          <a:p>
            <a:pPr marL="171450" indent="-171450">
              <a:buFontTx/>
              <a:buChar char="-"/>
            </a:pPr>
            <a:r>
              <a:rPr lang="en-US" b="1"/>
              <a:t>On-demand</a:t>
            </a:r>
            <a:r>
              <a:rPr lang="en-US"/>
              <a:t> =&gt; validation can be enforced (just like Code Review)</a:t>
            </a:r>
          </a:p>
          <a:p>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11/24/2021 11:2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12905790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a:t>Please refer</a:t>
            </a:r>
            <a:r>
              <a:rPr lang="en-US" baseline="0"/>
              <a:t> to </a:t>
            </a:r>
            <a:r>
              <a:rPr lang="en-US" b="1" baseline="0"/>
              <a:t>Module 6 – Demos </a:t>
            </a:r>
            <a:r>
              <a:rPr lang="en-US" baseline="0"/>
              <a:t>document section </a:t>
            </a:r>
            <a:r>
              <a:rPr lang="en-US" b="1" baseline="0"/>
              <a:t>Demo 4 </a:t>
            </a:r>
            <a:r>
              <a:rPr lang="en-US" baseline="0"/>
              <a:t>for detail instructions about the demo.</a:t>
            </a: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230301A-B573-43F6-ACF9-3EFAE5786565}" type="datetime8">
              <a:rPr lang="en-US" smtClean="0"/>
              <a:t>11/24/2021 11:2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1598948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2 </a:t>
            </a:r>
            <a:r>
              <a:rPr lang="en-US" err="1"/>
              <a:t>hrs</a:t>
            </a:r>
            <a:r>
              <a:rPr lang="en-US"/>
              <a:t> (with SF)</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0B7B199-9462-43C8-90EA-780EC301FB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4/2021 11:2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93378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14CC677C-75D1-45BC-8FF3-7313E4B8CD7A}" type="datetime8">
              <a:rPr lang="en-US" smtClean="0">
                <a:solidFill>
                  <a:prstClr val="black"/>
                </a:solidFill>
              </a:rPr>
              <a:t>11/24/2021 11:22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6</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5071878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ther resources to walk you through:</a:t>
            </a:r>
          </a:p>
          <a:p>
            <a:endParaRPr lang="en-US"/>
          </a:p>
          <a:p>
            <a:pPr marL="171450" indent="-171450">
              <a:buFontTx/>
              <a:buChar char="-"/>
            </a:pPr>
            <a:r>
              <a:rPr lang="en-US"/>
              <a:t>Deploying </a:t>
            </a:r>
            <a:r>
              <a:rPr lang="en-US" b="1"/>
              <a:t>in AKS </a:t>
            </a:r>
            <a:r>
              <a:rPr lang="en-US"/>
              <a:t>from </a:t>
            </a:r>
            <a:r>
              <a:rPr lang="en-US" b="1"/>
              <a:t>Jenkins</a:t>
            </a:r>
          </a:p>
          <a:p>
            <a:pPr marL="171450" indent="-171450">
              <a:buFontTx/>
              <a:buChar char="-"/>
            </a:pPr>
            <a:r>
              <a:rPr lang="en-US"/>
              <a:t>Deploying in </a:t>
            </a:r>
            <a:r>
              <a:rPr lang="en-US" b="1"/>
              <a:t>Service Fabric Linux </a:t>
            </a:r>
            <a:r>
              <a:rPr lang="en-US"/>
              <a:t>cluster from </a:t>
            </a:r>
            <a:r>
              <a:rPr lang="en-US" b="1"/>
              <a:t>Jenkin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11/24/2021 11:2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42323643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It all begins on each developer's machine, coding the app itself, using their preferred languages or platforms, and testing it locally </a:t>
            </a:r>
          </a:p>
          <a:p>
            <a:pPr marL="0" indent="0">
              <a:buFontTx/>
              <a:buNone/>
            </a:pPr>
            <a:endParaRPr lang="en-US"/>
          </a:p>
          <a:p>
            <a:pPr marL="0" indent="0">
              <a:buFontTx/>
              <a:buNone/>
            </a:pPr>
            <a:r>
              <a:rPr lang="en-US"/>
              <a:t>But in every case, you will have a very important point in common, no matter what language, framework, or platforms you choose. </a:t>
            </a:r>
          </a:p>
          <a:p>
            <a:pPr marL="0" indent="0">
              <a:buFontTx/>
              <a:buNone/>
            </a:pPr>
            <a:r>
              <a:rPr lang="en-US"/>
              <a:t>In this specific workflow, you are always developing and testing Docker containers locally</a:t>
            </a:r>
          </a:p>
          <a:p>
            <a:pPr marL="0" indent="0">
              <a:buFontTx/>
              <a:buNone/>
            </a:pPr>
            <a:endParaRPr lang="en-US"/>
          </a:p>
          <a:p>
            <a:pPr marL="0" indent="0">
              <a:buFontTx/>
              <a:buNone/>
            </a:pPr>
            <a:r>
              <a:rPr lang="en-US"/>
              <a:t>Docker image instance/container will container: An OS (Linux distro/Windows), Files added by the dev (ex. App binaries), Config (ex. Environment settings/</a:t>
            </a:r>
            <a:r>
              <a:rPr lang="en-US" err="1"/>
              <a:t>dependenices</a:t>
            </a:r>
            <a:r>
              <a:rPr lang="en-US"/>
              <a:t>), Instructions for what processes to run by Docker </a:t>
            </a:r>
          </a:p>
          <a:p>
            <a:pPr marL="0" indent="0">
              <a:buFontTx/>
              <a:buNone/>
            </a:pPr>
            <a:endParaRPr lang="en-US"/>
          </a:p>
          <a:p>
            <a:pPr marL="0" indent="0">
              <a:buFontTx/>
              <a:buNone/>
            </a:pPr>
            <a:endParaRPr lang="en-US"/>
          </a:p>
          <a:p>
            <a:pPr marL="228600" indent="-228600">
              <a:buFontTx/>
              <a:buAutoNum type="arabicPeriod"/>
            </a:pPr>
            <a:endParaRPr lang="en-US"/>
          </a:p>
          <a:p>
            <a:pPr marL="228600" indent="-228600">
              <a:buFontTx/>
              <a:buAutoNum type="arabicPeriod"/>
            </a:pPr>
            <a:r>
              <a:rPr lang="en-US"/>
              <a:t>You can work with Docker CLI and write your code using any code editor, but if you use Visual Studio Code, it makes it easy to author </a:t>
            </a:r>
            <a:r>
              <a:rPr lang="en-US" err="1"/>
              <a:t>Dockerfile</a:t>
            </a:r>
            <a:r>
              <a:rPr lang="en-US"/>
              <a:t> and docker-</a:t>
            </a:r>
            <a:r>
              <a:rPr lang="en-US" err="1"/>
              <a:t>compose.yml</a:t>
            </a:r>
            <a:r>
              <a:rPr lang="en-US"/>
              <a:t> files in your workspace. Plus, you can run Visual Studio Code tasks from the IDE that will prompt scripts that can be running elaborated operations using Docker CLI underneath.</a:t>
            </a:r>
          </a:p>
          <a:p>
            <a:pPr marL="228600" indent="-228600">
              <a:buFontTx/>
              <a:buAutoNum type="arabicPeriod"/>
            </a:pPr>
            <a:r>
              <a:rPr lang="en-US"/>
              <a:t>The </a:t>
            </a:r>
            <a:r>
              <a:rPr lang="en-US" err="1"/>
              <a:t>DockerFile</a:t>
            </a:r>
            <a:r>
              <a:rPr lang="en-US"/>
              <a:t> is usually placed within the root folder of your app or service and contains the required commands so that Docker knows how to set up and run that app or service. You can create your </a:t>
            </a:r>
            <a:r>
              <a:rPr lang="en-US" err="1"/>
              <a:t>DockerFile</a:t>
            </a:r>
            <a:r>
              <a:rPr lang="en-US"/>
              <a:t> and add it to your project along with your code (node.js, .NET Core, etc.), or, if you are new to the environment, take a look at the following Tip. (one per custom image) You can create a custom image leveraging existing, or from scratch in Linux (not recommended when you are just starting out) </a:t>
            </a:r>
          </a:p>
          <a:p>
            <a:pPr marL="228600" indent="-228600">
              <a:buFontTx/>
              <a:buAutoNum type="arabicPeriod"/>
            </a:pPr>
            <a:r>
              <a:rPr lang="en-US"/>
              <a:t>Create images from your </a:t>
            </a:r>
            <a:r>
              <a:rPr lang="en-US" err="1"/>
              <a:t>dockerfile</a:t>
            </a:r>
            <a:r>
              <a:rPr lang="en-US"/>
              <a:t> specs (When taking into account the "outer-loop DevOps workflow," the images will be created by an automated build process whenever you push your source code to a Git repository (Continuous Integration) so the images will be created in that global environment from your source code.) But, before we consider going to that outer-loop route, we need to ensure that the Docker application is actually working properly so that they don't push code that might not work properly to the source control system (Git, etc.). Therefore, each developer first needs to do the entire inner-loop process to test locally and continue developing until they want to push a complete feature or change to the source control system.</a:t>
            </a:r>
          </a:p>
          <a:p>
            <a:pPr marL="228600" indent="-228600">
              <a:buFontTx/>
              <a:buAutoNum type="arabicPeriod"/>
            </a:pPr>
            <a:r>
              <a:rPr lang="en-US"/>
              <a:t>Step 4: (Optional) Define your services in docker-</a:t>
            </a:r>
            <a:r>
              <a:rPr lang="en-US" err="1"/>
              <a:t>compose.yml</a:t>
            </a:r>
            <a:r>
              <a:rPr lang="en-US"/>
              <a:t> when building a composed Docker app with multiple services. With the docker-</a:t>
            </a:r>
            <a:r>
              <a:rPr lang="en-US" err="1"/>
              <a:t>compose.yml</a:t>
            </a:r>
            <a:r>
              <a:rPr lang="en-US"/>
              <a:t> file you can define a set of related services to be deployed as a composed application with the deployment commands explained in the next step section (create that file in your main or root solution folder)</a:t>
            </a:r>
          </a:p>
          <a:p>
            <a:pPr marL="228600" indent="-228600">
              <a:buFontTx/>
              <a:buAutoNum type="arabicPeriod"/>
            </a:pPr>
            <a:endParaRPr lang="en-US"/>
          </a:p>
          <a:p>
            <a:pPr marL="228600" indent="-228600">
              <a:buFontTx/>
              <a:buAutoNum type="arabicPeriod"/>
            </a:pPr>
            <a:r>
              <a:rPr lang="en-US"/>
              <a:t>Step 5: Build and run your Docker app: If your app has only a single container, you just need to run it by deploying it to your Docker Host (VM or physical server). However, if your app is made up of multiple services, you need to compose it, too. Let's see the different options. Note docker-compose up and docker run might be enough for testing your containers in your development environment, but you might not use them at all if you are expecting to work with Docker clusters and orchestrators like Docker Swarm, Mesosphere DC/OS, or Kubernetes in order to be able to scale up</a:t>
            </a:r>
          </a:p>
          <a:p>
            <a:pPr marL="228600" indent="-228600">
              <a:buFontTx/>
              <a:buAutoNum type="arabicPeriod"/>
            </a:pPr>
            <a:endParaRPr lang="en-US"/>
          </a:p>
          <a:p>
            <a:pPr marL="228600" indent="-228600">
              <a:buFontTx/>
              <a:buAutoNum type="arabicPeriod"/>
            </a:pPr>
            <a:r>
              <a:rPr lang="en-US"/>
              <a:t>Test locally: Visual Studio Code supports debugging Docker if you're using Node.js and other platforms like .NET Core containers. You also can debug .NET Core containers in Docker when using Visual Studio, as described in the next section.</a:t>
            </a:r>
          </a:p>
          <a:p>
            <a:pPr marL="0" indent="0">
              <a:buFontTx/>
              <a:buNone/>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11/24/2021 11:2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39103095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85669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fld id="{FC54E88E-0A35-46A4-BA16-DDC44FCADBF5}" type="datetime8">
              <a:rPr lang="en-US" smtClean="0"/>
              <a:t>11/24/2021 11:22 PM</a:t>
            </a:fld>
            <a:endParaRPr lang="en-US"/>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4</a:t>
            </a:fld>
            <a:endParaRPr lang="en-US"/>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p>
        </p:txBody>
      </p:sp>
    </p:spTree>
    <p:extLst>
      <p:ext uri="{BB962C8B-B14F-4D97-AF65-F5344CB8AC3E}">
        <p14:creationId xmlns:p14="http://schemas.microsoft.com/office/powerpoint/2010/main" val="27910305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ve talked about what containers are and how we can work with them, then we’ve talked about how containers are great for deploying microservices. Once we are deploying a variety of microservices, we look to an orchestrator to help us schedule and manage our services. Now we will talk about DevOps. When combining these technologies and approaches, we can enable the development and deployment of better softwar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E27224-6F3E-4CDA-957A-214E829204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9374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11/24/2021 11:2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4165243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hlinkClick r:id="rId3"/>
              </a:rPr>
              <a:t>http://stories.visualstudio.com/devops</a:t>
            </a:r>
            <a:r>
              <a:rPr lang="en-US" sz="900" dirty="0"/>
              <a:t> </a:t>
            </a:r>
          </a:p>
          <a:p>
            <a:r>
              <a:rPr lang="en-US" dirty="0"/>
              <a:t>The </a:t>
            </a:r>
            <a:r>
              <a:rPr lang="en-US" b="1" dirty="0"/>
              <a:t>link</a:t>
            </a:r>
            <a:r>
              <a:rPr lang="en-US" dirty="0"/>
              <a:t> shows Microsoft’s </a:t>
            </a:r>
            <a:r>
              <a:rPr lang="en-US" b="1" dirty="0"/>
              <a:t>journey towards DevOps =&gt;</a:t>
            </a:r>
            <a:r>
              <a:rPr lang="en-US" b="0" dirty="0"/>
              <a:t> it explain how we made this </a:t>
            </a:r>
            <a:r>
              <a:rPr lang="en-US" b="1" dirty="0"/>
              <a:t>cultural shift</a:t>
            </a:r>
          </a:p>
          <a:p>
            <a:r>
              <a:rPr lang="en-US" b="1" dirty="0">
                <a:sym typeface="Wingdings" panose="05000000000000000000" pitchFamily="2" charset="2"/>
              </a:rPr>
              <a:t> Optionally: Open the web page</a:t>
            </a:r>
            <a:endParaRPr lang="en-US" b="1" dirty="0"/>
          </a:p>
          <a:p>
            <a:r>
              <a:rPr lang="en-US" b="0" dirty="0"/>
              <a:t>On the web page search for </a:t>
            </a:r>
            <a:r>
              <a:rPr lang="en-US" sz="900" b="1" i="1" u="sng" strike="noStrike" kern="1200" dirty="0">
                <a:solidFill>
                  <a:schemeClr val="tx1"/>
                </a:solidFill>
                <a:effectLst/>
                <a:latin typeface="Segoe UI Light" pitchFamily="34" charset="0"/>
                <a:ea typeface="+mn-ea"/>
                <a:cs typeface="+mn-cs"/>
              </a:rPr>
              <a:t>Shift in Role</a:t>
            </a:r>
            <a:r>
              <a:rPr lang="en-US" sz="900" b="0" i="0" u="none" strike="noStrike" kern="1200" dirty="0">
                <a:solidFill>
                  <a:schemeClr val="tx1"/>
                </a:solidFill>
                <a:effectLst/>
                <a:latin typeface="Segoe UI Light" pitchFamily="34" charset="0"/>
                <a:ea typeface="+mn-ea"/>
                <a:cs typeface="+mn-cs"/>
              </a:rPr>
              <a:t>. =&gt; </a:t>
            </a:r>
            <a:r>
              <a:rPr lang="en-US" sz="900" b="1" i="0" u="none" strike="noStrike" kern="1200" dirty="0">
                <a:solidFill>
                  <a:schemeClr val="tx1"/>
                </a:solidFill>
                <a:effectLst/>
                <a:latin typeface="Segoe UI Light" pitchFamily="34" charset="0"/>
                <a:ea typeface="+mn-ea"/>
                <a:cs typeface="+mn-cs"/>
              </a:rPr>
              <a:t>small cross functional teams </a:t>
            </a:r>
          </a:p>
          <a:p>
            <a:endParaRPr lang="en-US" dirty="0"/>
          </a:p>
          <a:p>
            <a:r>
              <a:rPr lang="en-US" dirty="0"/>
              <a:t>Source: </a:t>
            </a:r>
            <a:r>
              <a:rPr lang="en-US" dirty="0">
                <a:hlinkClick r:id="rId4"/>
              </a:rPr>
              <a:t>https://docs.microsoft.com/en-us/learn/modules/explain-devops-continous-delivery-quality/2-use-continuous-delivery-release-faster</a:t>
            </a:r>
            <a:endParaRPr lang="en-US" dirty="0"/>
          </a:p>
          <a:p>
            <a:r>
              <a:rPr lang="en-US" dirty="0"/>
              <a:t>Original PDF: </a:t>
            </a:r>
            <a:r>
              <a:rPr lang="en-US" dirty="0">
                <a:hlinkClick r:id="rId5"/>
              </a:rPr>
              <a:t>https://services.google.com/fh/files/misc/state-of-devops-2019.pdf</a:t>
            </a:r>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D7B9D4F-5F19-438C-92E8-037C6AE8F87D}" type="slidenum">
              <a:rPr lang="en-US" smtClean="0"/>
              <a:t>7</a:t>
            </a:fld>
            <a:endParaRPr lang="en-US"/>
          </a:p>
        </p:txBody>
      </p:sp>
    </p:spTree>
    <p:extLst>
      <p:ext uri="{BB962C8B-B14F-4D97-AF65-F5344CB8AC3E}">
        <p14:creationId xmlns:p14="http://schemas.microsoft.com/office/powerpoint/2010/main" val="10945695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Donovan Brown definition: </a:t>
            </a:r>
            <a:r>
              <a:rPr lang="en-US" sz="1200" b="1" i="0" u="sng" kern="1200" dirty="0">
                <a:solidFill>
                  <a:schemeClr val="tx1"/>
                </a:solidFill>
                <a:effectLst/>
                <a:latin typeface="Segoe UI Light" pitchFamily="34" charset="0"/>
                <a:ea typeface="+mn-ea"/>
                <a:cs typeface="+mn-cs"/>
              </a:rPr>
              <a:t>“DevOps is the union of people, process, and products to enable continuous delivery of value to our end users.”</a:t>
            </a:r>
            <a:endParaRPr lang="en-US" sz="1200" b="1" u="sng" dirty="0"/>
          </a:p>
          <a:p>
            <a:endParaRPr lang="en-US" sz="1200" dirty="0"/>
          </a:p>
          <a:p>
            <a:r>
              <a:rPr lang="en-US" sz="1200" dirty="0"/>
              <a:t>A bit of </a:t>
            </a:r>
            <a:r>
              <a:rPr lang="en-US" sz="1200" b="1" dirty="0"/>
              <a:t>marketing discussion </a:t>
            </a:r>
            <a:r>
              <a:rPr lang="en-US" sz="1200" b="0" dirty="0"/>
              <a:t>but </a:t>
            </a:r>
            <a:r>
              <a:rPr lang="en-US" sz="1200" b="0" dirty="0" err="1"/>
              <a:t>devOps</a:t>
            </a:r>
            <a:r>
              <a:rPr lang="en-US" sz="1200" b="0" dirty="0"/>
              <a:t> is </a:t>
            </a:r>
            <a:r>
              <a:rPr lang="en-US" sz="1200" b="1" dirty="0"/>
              <a:t>important</a:t>
            </a:r>
            <a:r>
              <a:rPr lang="en-US" sz="1200" b="0" dirty="0"/>
              <a:t> </a:t>
            </a:r>
            <a:r>
              <a:rPr lang="en-US" sz="1200" b="1" dirty="0"/>
              <a:t>to be able to produce more business value</a:t>
            </a:r>
          </a:p>
          <a:p>
            <a:endParaRPr lang="en-US" sz="1200" b="1" dirty="0"/>
          </a:p>
          <a:p>
            <a:r>
              <a:rPr lang="en-US" sz="1200" b="0" dirty="0"/>
              <a:t>Better collaboration between </a:t>
            </a:r>
            <a:r>
              <a:rPr lang="en-US" sz="1200" b="1" dirty="0"/>
              <a:t>Developers </a:t>
            </a:r>
            <a:r>
              <a:rPr lang="en-US" sz="1200" b="0" dirty="0"/>
              <a:t>and</a:t>
            </a:r>
            <a:r>
              <a:rPr lang="en-US" sz="1200" b="1" dirty="0"/>
              <a:t> IT professionals (Ops) </a:t>
            </a:r>
          </a:p>
          <a:p>
            <a:endParaRPr lang="en-US" sz="1200" b="1" dirty="0"/>
          </a:p>
          <a:p>
            <a:r>
              <a:rPr lang="en-US" sz="1200" b="0" u="sng" dirty="0"/>
              <a:t>Example:</a:t>
            </a:r>
            <a:r>
              <a:rPr lang="en-US" sz="1200" b="0" dirty="0"/>
              <a:t> Don’t </a:t>
            </a:r>
            <a:r>
              <a:rPr lang="en-US" sz="1200" b="1" dirty="0"/>
              <a:t>reach out </a:t>
            </a:r>
            <a:r>
              <a:rPr lang="en-US" sz="1200" b="0" dirty="0"/>
              <a:t>to Ops </a:t>
            </a:r>
            <a:r>
              <a:rPr lang="en-US" sz="1200" b="1" dirty="0"/>
              <a:t>2 days before a certificate expiration =&gt; plan the work </a:t>
            </a:r>
            <a:r>
              <a:rPr lang="en-US" sz="1200" b="0" dirty="0"/>
              <a:t>ahead  of time</a:t>
            </a:r>
          </a:p>
          <a:p>
            <a:endParaRPr lang="en-US" sz="1200" b="0" dirty="0"/>
          </a:p>
          <a:p>
            <a:r>
              <a:rPr lang="en-US" sz="1200" b="0" dirty="0"/>
              <a:t>Leads to </a:t>
            </a:r>
          </a:p>
          <a:p>
            <a:pPr marL="171450" indent="-171450">
              <a:buFontTx/>
              <a:buChar char="-"/>
            </a:pPr>
            <a:r>
              <a:rPr lang="en-US" sz="1200" b="0" dirty="0"/>
              <a:t>lower </a:t>
            </a:r>
            <a:r>
              <a:rPr lang="en-US" sz="1200" b="1" dirty="0"/>
              <a:t>time to market </a:t>
            </a:r>
            <a:r>
              <a:rPr lang="en-US" sz="1200" b="0" dirty="0"/>
              <a:t>with more </a:t>
            </a:r>
            <a:r>
              <a:rPr lang="en-US" sz="1200" b="1" dirty="0"/>
              <a:t>frequent deployments</a:t>
            </a:r>
          </a:p>
          <a:p>
            <a:pPr marL="171450" indent="-171450">
              <a:buFontTx/>
              <a:buChar char="-"/>
            </a:pPr>
            <a:r>
              <a:rPr lang="en-US" sz="1200" b="0" dirty="0"/>
              <a:t>Better </a:t>
            </a:r>
            <a:r>
              <a:rPr lang="en-US" sz="1200" b="1" dirty="0"/>
              <a:t>software quality</a:t>
            </a:r>
          </a:p>
          <a:p>
            <a:pPr marL="171450" indent="-171450">
              <a:buFontTx/>
              <a:buChar char="-"/>
            </a:pPr>
            <a:r>
              <a:rPr lang="en-US" sz="1200" b="0" dirty="0"/>
              <a:t>Happier customer =&gt; </a:t>
            </a:r>
            <a:r>
              <a:rPr lang="en-US" sz="1200" b="1" dirty="0"/>
              <a:t>more customers engagement and retention</a:t>
            </a:r>
          </a:p>
          <a:p>
            <a:pPr marL="171450" indent="-171450">
              <a:buFontTx/>
              <a:buChar char="-"/>
            </a:pPr>
            <a:r>
              <a:rPr lang="en-US" sz="1200" b="0" dirty="0"/>
              <a:t>So it increase overall </a:t>
            </a:r>
            <a:r>
              <a:rPr lang="en-US" sz="1200" b="1" dirty="0"/>
              <a:t>business value</a:t>
            </a:r>
            <a:r>
              <a:rPr lang="en-US" sz="1200" b="0" dirty="0"/>
              <a:t>.</a:t>
            </a:r>
          </a:p>
          <a:p>
            <a:pPr marL="171450" indent="-171450">
              <a:buFontTx/>
              <a:buChar char="-"/>
            </a:pPr>
            <a:endParaRPr lang="en-US" sz="1200" b="0" dirty="0"/>
          </a:p>
          <a:p>
            <a:pPr marL="0" indent="0">
              <a:buFontTx/>
              <a:buNone/>
            </a:pPr>
            <a:r>
              <a:rPr lang="en-US" sz="1200" b="0" u="sng" dirty="0"/>
              <a:t>One of the key:</a:t>
            </a:r>
            <a:r>
              <a:rPr lang="en-US" sz="1200" b="0" dirty="0"/>
              <a:t> </a:t>
            </a:r>
            <a:r>
              <a:rPr lang="en-US" sz="1200" b="1" dirty="0"/>
              <a:t>automation</a:t>
            </a:r>
            <a:r>
              <a:rPr lang="en-US" sz="1200" b="0" dirty="0"/>
              <a:t> through </a:t>
            </a:r>
            <a:r>
              <a:rPr lang="en-US" sz="1200" b="1" dirty="0"/>
              <a:t>CI/CD pipeline</a:t>
            </a:r>
            <a:r>
              <a:rPr lang="en-US" sz="1200" b="0" dirty="0"/>
              <a:t>.</a:t>
            </a:r>
          </a:p>
          <a:p>
            <a:pPr marL="0" indent="0">
              <a:buFontTx/>
              <a:buNone/>
            </a:pPr>
            <a:endParaRPr lang="en-US" sz="2800"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34344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Quick overview of Azure DevOps tooling</a:t>
            </a:r>
          </a:p>
          <a:p>
            <a:endParaRPr lang="en-US" b="0" dirty="0"/>
          </a:p>
          <a:p>
            <a:r>
              <a:rPr lang="en-US" b="0" dirty="0"/>
              <a:t>Ask the customer at this point, are you using Azure DevOps? If not, what do you use? </a:t>
            </a:r>
          </a:p>
          <a:p>
            <a:endParaRPr lang="en-US" b="0" dirty="0"/>
          </a:p>
          <a:p>
            <a:r>
              <a:rPr lang="en-US" b="0" dirty="0"/>
              <a:t>Benefit of Azure DevOps is it’s ability to orchestrate all of these DevOps components into one place! </a:t>
            </a:r>
          </a:p>
          <a:p>
            <a:endParaRPr lang="en-US" dirty="0"/>
          </a:p>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101605F0-F4FA-453C-99F4-6D9D6C769866}" type="datetime8">
              <a:rPr lang="en-US" smtClean="0"/>
              <a:t>11/24/2021 11:2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7357016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5.xml"/><Relationship Id="rId4" Type="http://schemas.openxmlformats.org/officeDocument/2006/relationships/image" Target="../media/image17.jpe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5.xml"/><Relationship Id="rId4" Type="http://schemas.openxmlformats.org/officeDocument/2006/relationships/image" Target="../media/image17.jpe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4" Type="http://schemas.openxmlformats.org/officeDocument/2006/relationships/image" Target="../media/image7.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171718742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0746585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154674537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66304038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227014"/>
            <a:ext cx="5667375" cy="77311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6"/>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170342554"/>
      </p:ext>
    </p:extLst>
  </p:cSld>
  <p:clrMapOvr>
    <a:masterClrMapping/>
  </p:clrMapOvr>
  <p:transition>
    <p:fade/>
  </p:transition>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7"/>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7"/>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7"/>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4"/>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222972816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8"/>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8"/>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54939702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1526036557"/>
      </p:ext>
    </p:extLst>
  </p:cSld>
  <p:clrMapOvr>
    <a:masterClrMapping/>
  </p:clrMapOvr>
  <p:transition>
    <p:fade/>
  </p:transition>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1203325"/>
            <a:ext cx="5895975" cy="3831241"/>
          </a:xfrm>
        </p:spPr>
        <p:txBody>
          <a:bodyPr anchor="ctr">
            <a:noAutofit/>
          </a:bodyPr>
          <a:lstStyle>
            <a:lvl1pPr algn="ctr">
              <a:defRPr sz="1800" b="1">
                <a:latin typeface="+mn-lt"/>
              </a:defRPr>
            </a:lvl1pPr>
          </a:lstStyle>
          <a:p>
            <a:r>
              <a:rPr lang="en-US"/>
              <a:t>Drop photo here</a:t>
            </a:r>
          </a:p>
        </p:txBody>
      </p:sp>
      <p:sp>
        <p:nvSpPr>
          <p:cNvPr id="4" name="Text Placeholder 3"/>
          <p:cNvSpPr>
            <a:spLocks noGrp="1"/>
          </p:cNvSpPr>
          <p:nvPr>
            <p:ph type="body" sz="quarter" idx="10" hasCustomPrompt="1"/>
          </p:nvPr>
        </p:nvSpPr>
        <p:spPr>
          <a:xfrm>
            <a:off x="434975" y="1167645"/>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162857078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79527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632868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544072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spTree>
    <p:extLst>
      <p:ext uri="{BB962C8B-B14F-4D97-AF65-F5344CB8AC3E}">
        <p14:creationId xmlns:p14="http://schemas.microsoft.com/office/powerpoint/2010/main" val="42628603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20995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13247887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3251719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523584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Content Small 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56"/>
            </a:lvl1pPr>
          </a:lstStyle>
          <a:p>
            <a:r>
              <a:rPr lang="en-US"/>
              <a:t>Click to edit Master 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4007242830"/>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66369" y="466303"/>
            <a:ext cx="11503738" cy="606192"/>
          </a:xfrm>
        </p:spPr>
        <p:txBody>
          <a:bodyPr>
            <a:normAutofit/>
          </a:bodyPr>
          <a:lstStyle>
            <a:lvl1pPr>
              <a:defRPr sz="4488"/>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66368" y="1072494"/>
            <a:ext cx="11503739" cy="376706"/>
          </a:xfrm>
        </p:spPr>
        <p:txBody>
          <a:bodyPr/>
          <a:lstStyle>
            <a:lvl1pPr marL="0" indent="0" algn="l">
              <a:buNone/>
              <a:defRPr sz="2448" b="1" i="0" spc="-61" baseline="0">
                <a:latin typeface="Segoe UI Semibold" charset="0"/>
                <a:ea typeface="Segoe UI Semibold" charset="0"/>
                <a:cs typeface="Segoe UI Semibold" charset="0"/>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6" name="Slide Number Placeholder 5">
            <a:extLst>
              <a:ext uri="{FF2B5EF4-FFF2-40B4-BE49-F238E27FC236}">
                <a16:creationId xmlns:a16="http://schemas.microsoft.com/office/drawing/2014/main" id="{AF9386A6-1B24-F24E-ACF1-EA03F8741407}"/>
              </a:ext>
            </a:extLst>
          </p:cNvPr>
          <p:cNvSpPr>
            <a:spLocks noGrp="1"/>
          </p:cNvSpPr>
          <p:nvPr>
            <p:ph type="sldNum" sz="quarter" idx="28"/>
          </p:nvPr>
        </p:nvSpPr>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01844009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66369" y="466302"/>
            <a:ext cx="11503738" cy="606192"/>
          </a:xfrm>
          <a:prstGeom prst="rect">
            <a:avLst/>
          </a:prstGeom>
        </p:spPr>
        <p:txBody>
          <a:bodyPr vert="horz" lIns="0" tIns="0" rIns="0" bIns="0" rtlCol="0" anchor="t">
            <a:normAutofit/>
          </a:bodyPr>
          <a:lstStyle>
            <a:lvl1pPr>
              <a:defRPr sz="4488"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66368" y="1072494"/>
            <a:ext cx="11503739" cy="376706"/>
          </a:xfrm>
        </p:spPr>
        <p:txBody>
          <a:bodyPr/>
          <a:lstStyle>
            <a:lvl1pPr marL="0" indent="0" algn="l">
              <a:buNone/>
              <a:defRPr sz="2448" b="1" i="0" spc="-61" baseline="0">
                <a:latin typeface="Segoe UI Semibold" charset="0"/>
                <a:ea typeface="Segoe UI Semibold" charset="0"/>
                <a:cs typeface="Segoe UI Semibold" charset="0"/>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10" name="Text Placeholder 3">
            <a:extLst>
              <a:ext uri="{FF2B5EF4-FFF2-40B4-BE49-F238E27FC236}">
                <a16:creationId xmlns:a16="http://schemas.microsoft.com/office/drawing/2014/main" id="{527732AA-D7B1-48A6-8C12-8974C5F0A104}"/>
              </a:ext>
            </a:extLst>
          </p:cNvPr>
          <p:cNvSpPr>
            <a:spLocks noGrp="1"/>
          </p:cNvSpPr>
          <p:nvPr>
            <p:ph idx="26"/>
          </p:nvPr>
        </p:nvSpPr>
        <p:spPr>
          <a:xfrm>
            <a:off x="6234460" y="1904066"/>
            <a:ext cx="5735647" cy="4603910"/>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3">
            <a:extLst>
              <a:ext uri="{FF2B5EF4-FFF2-40B4-BE49-F238E27FC236}">
                <a16:creationId xmlns:a16="http://schemas.microsoft.com/office/drawing/2014/main" id="{C3475C84-786C-409E-B9CE-2261308DA6EF}"/>
              </a:ext>
            </a:extLst>
          </p:cNvPr>
          <p:cNvSpPr>
            <a:spLocks noGrp="1"/>
          </p:cNvSpPr>
          <p:nvPr>
            <p:ph idx="33"/>
          </p:nvPr>
        </p:nvSpPr>
        <p:spPr>
          <a:xfrm>
            <a:off x="474479" y="1904066"/>
            <a:ext cx="5759982" cy="4603910"/>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161395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64250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530059"/>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7449151"/>
      </p:ext>
    </p:extLst>
  </p:cSld>
  <p:clrMapOvr>
    <a:masterClrMapping/>
  </p:clrMapOvr>
  <p:transition>
    <p:fade/>
  </p:transition>
  <p:extLst>
    <p:ext uri="{DCECCB84-F9BA-43D5-87BE-67443E8EF086}">
      <p15:sldGuideLst xmlns:p15="http://schemas.microsoft.com/office/powerpoint/2012/main">
        <p15:guide id="3" orient="horz" pos="918" userDrawn="1">
          <p15:clr>
            <a:srgbClr val="5ACBF0"/>
          </p15:clr>
        </p15:guide>
        <p15:guide id="4" orient="horz" pos="1301" userDrawn="1">
          <p15:clr>
            <a:srgbClr val="5ACBF0"/>
          </p15:clr>
        </p15:guide>
        <p15:guide id="5" orient="horz" pos="294" userDrawn="1">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12749"/>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1365054"/>
      </p:ext>
    </p:extLst>
  </p:cSld>
  <p:clrMapOvr>
    <a:masterClrMapping/>
  </p:clrMapOvr>
  <p:transition>
    <p:fade/>
  </p:transition>
  <p:extLst>
    <p:ext uri="{DCECCB84-F9BA-43D5-87BE-67443E8EF086}">
      <p15:sldGuideLst xmlns:p15="http://schemas.microsoft.com/office/powerpoint/2012/main">
        <p15:guide id="1" orient="horz" pos="294" userDrawn="1">
          <p15:clr>
            <a:srgbClr val="5ACBF0"/>
          </p15:clr>
        </p15:guide>
        <p15:guide id="2" orient="horz" pos="923" userDrawn="1">
          <p15:clr>
            <a:srgbClr val="5ACBF0"/>
          </p15:clr>
        </p15:guide>
        <p15:guide id="4" orient="horz" pos="1297" userDrawn="1">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849705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86684694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17969300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7"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1057756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2953823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10299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629945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182241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316129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305763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853319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648856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480361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342485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61053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92984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711556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291613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95075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349689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8485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61205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4141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875965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21656885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575211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21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15400797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03699489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25793045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74191436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78944630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6566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1534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32586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39454073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5089862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76051584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34308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220913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07972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94852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543836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p:cNvPicPr/>
                      <p:nvPr/>
                    </p:nvPicPr>
                    <p:blipFill>
                      <a:blip r:embed="rId4"/>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394527421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700654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Two Column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tent Title</a:t>
            </a:r>
          </a:p>
        </p:txBody>
      </p:sp>
      <p:sp>
        <p:nvSpPr>
          <p:cNvPr id="4" name="Text Placeholder 3"/>
          <p:cNvSpPr>
            <a:spLocks noGrp="1"/>
          </p:cNvSpPr>
          <p:nvPr>
            <p:ph type="body" sz="quarter" idx="10"/>
          </p:nvPr>
        </p:nvSpPr>
        <p:spPr>
          <a:xfrm>
            <a:off x="274640" y="1211287"/>
            <a:ext cx="5486398" cy="2542816"/>
          </a:xfrm>
        </p:spPr>
        <p:txBody>
          <a:bodyPr wrap="square">
            <a:spAutoFit/>
          </a:bodyPr>
          <a:lstStyle>
            <a:lvl1pPr marL="457132" indent="-457132">
              <a:spcBef>
                <a:spcPts val="1224"/>
              </a:spcBef>
              <a:buClr>
                <a:schemeClr val="tx1"/>
              </a:buClr>
              <a:buFont typeface="Arial" panose="020B0604020202020204" pitchFamily="34" charset="0"/>
              <a:buChar char="•"/>
              <a:defRPr sz="3001" b="0">
                <a:latin typeface="+mn-lt"/>
              </a:defRPr>
            </a:lvl1pPr>
            <a:lvl2pPr marL="598400" indent="-342851">
              <a:buFont typeface="Arial" panose="020B0604020202020204" pitchFamily="34" charset="0"/>
              <a:buChar char="•"/>
              <a:defRPr sz="2400" b="0"/>
            </a:lvl2pPr>
            <a:lvl3pPr marL="793633" indent="-342851">
              <a:buFont typeface="Arial" panose="020B0604020202020204" pitchFamily="34" charset="0"/>
              <a:buChar char="•"/>
              <a:tabLst/>
              <a:defRPr sz="2200" b="0"/>
            </a:lvl3pPr>
            <a:lvl4pPr marL="995216" indent="-342851">
              <a:buFont typeface="Arial" panose="020B0604020202020204" pitchFamily="34" charset="0"/>
              <a:buChar char="•"/>
              <a:defRPr sz="2200" b="0"/>
            </a:lvl4pPr>
            <a:lvl5pPr marL="1196801" indent="-342851">
              <a:buFont typeface="Arial" panose="020B0604020202020204" pitchFamily="34" charset="0"/>
              <a:buChar char="•"/>
              <a:tabLst/>
              <a:defRPr sz="22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3"/>
          <p:cNvSpPr>
            <a:spLocks noGrp="1"/>
          </p:cNvSpPr>
          <p:nvPr>
            <p:ph type="body" sz="quarter" idx="11"/>
          </p:nvPr>
        </p:nvSpPr>
        <p:spPr>
          <a:xfrm>
            <a:off x="6677807" y="1211287"/>
            <a:ext cx="5486398" cy="2542816"/>
          </a:xfrm>
        </p:spPr>
        <p:txBody>
          <a:bodyPr wrap="square">
            <a:spAutoFit/>
          </a:bodyPr>
          <a:lstStyle>
            <a:lvl1pPr marL="457132" indent="-457132">
              <a:spcBef>
                <a:spcPts val="1224"/>
              </a:spcBef>
              <a:buClr>
                <a:schemeClr val="tx1"/>
              </a:buClr>
              <a:buFont typeface="Arial" panose="020B0604020202020204" pitchFamily="34" charset="0"/>
              <a:buChar char="•"/>
              <a:defRPr lang="en-US" sz="3001" b="0" kern="1200" spc="0" baseline="0" dirty="0">
                <a:gradFill>
                  <a:gsLst>
                    <a:gs pos="1250">
                      <a:schemeClr val="tx1"/>
                    </a:gs>
                    <a:gs pos="100000">
                      <a:schemeClr val="tx1"/>
                    </a:gs>
                  </a:gsLst>
                  <a:lin ang="5400000" scaled="0"/>
                </a:gradFill>
                <a:latin typeface="+mn-lt"/>
                <a:ea typeface="+mn-ea"/>
                <a:cs typeface="+mn-cs"/>
              </a:defRPr>
            </a:lvl1pPr>
            <a:lvl2pPr marL="598400" indent="-342851">
              <a:buFont typeface="Arial" panose="020B0604020202020204" pitchFamily="34" charset="0"/>
              <a:buChar char="•"/>
              <a:defRPr lang="en-US" sz="2400" b="0" kern="1200" spc="0" baseline="0" dirty="0">
                <a:gradFill>
                  <a:gsLst>
                    <a:gs pos="1250">
                      <a:schemeClr val="tx1"/>
                    </a:gs>
                    <a:gs pos="100000">
                      <a:schemeClr val="tx1"/>
                    </a:gs>
                  </a:gsLst>
                  <a:lin ang="5400000" scaled="0"/>
                </a:gradFill>
                <a:latin typeface="+mn-lt"/>
                <a:ea typeface="+mn-ea"/>
                <a:cs typeface="+mn-cs"/>
              </a:defRPr>
            </a:lvl2pPr>
            <a:lvl3pPr marL="793633" indent="-342851">
              <a:buFont typeface="Arial" panose="020B0604020202020204" pitchFamily="34" charset="0"/>
              <a:buChar char="•"/>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216" indent="-342851">
              <a:buFont typeface="Arial" panose="020B0604020202020204" pitchFamily="34" charset="0"/>
              <a:buChar char="•"/>
              <a:defRPr lang="en-US" sz="2200" b="0" kern="1200" spc="0" baseline="0" dirty="0">
                <a:gradFill>
                  <a:gsLst>
                    <a:gs pos="1250">
                      <a:schemeClr val="tx1"/>
                    </a:gs>
                    <a:gs pos="100000">
                      <a:schemeClr val="tx1"/>
                    </a:gs>
                  </a:gsLst>
                  <a:lin ang="5400000" scaled="0"/>
                </a:gradFill>
                <a:latin typeface="+mn-lt"/>
                <a:ea typeface="+mn-ea"/>
                <a:cs typeface="+mn-cs"/>
              </a:defRPr>
            </a:lvl4pPr>
            <a:lvl5pPr marL="1196801" indent="-342851">
              <a:buFont typeface="Arial" panose="020B0604020202020204" pitchFamily="34" charset="0"/>
              <a:buChar char="•"/>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71575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Diagram title</a:t>
            </a:r>
            <a:br>
              <a:rPr lang="en-US"/>
            </a:br>
            <a:r>
              <a:rPr lang="en-US" sz="3600"/>
              <a:t>Subheading or intro line as necessary</a:t>
            </a:r>
            <a:endParaRPr lang="en-US"/>
          </a:p>
        </p:txBody>
      </p:sp>
    </p:spTree>
    <p:extLst>
      <p:ext uri="{BB962C8B-B14F-4D97-AF65-F5344CB8AC3E}">
        <p14:creationId xmlns:p14="http://schemas.microsoft.com/office/powerpoint/2010/main" val="503413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3"/>
            <a:ext cx="11888788" cy="2092624"/>
          </a:xfrm>
        </p:spPr>
        <p:txBody>
          <a:bodyPr>
            <a:spAutoFit/>
          </a:bodyPr>
          <a:lstStyle>
            <a:lvl1pPr marL="0" indent="0">
              <a:buNone/>
              <a:defRPr/>
            </a:lvl1pPr>
            <a:lvl2pPr marL="228537" indent="0">
              <a:buNone/>
              <a:defRPr/>
            </a:lvl2pPr>
            <a:lvl3pPr marL="457071" indent="0">
              <a:buNone/>
              <a:defRPr/>
            </a:lvl3pPr>
            <a:lvl4pPr marL="685608" indent="0">
              <a:buNone/>
              <a:defRPr/>
            </a:lvl4pPr>
            <a:lvl5pPr marL="91414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638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a:t>Azure DevOps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6262924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0467384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046" y="257117"/>
            <a:ext cx="2009666" cy="739243"/>
          </a:xfrm>
          <a:prstGeom prst="rect">
            <a:avLst/>
          </a:prstGeom>
        </p:spPr>
      </p:pic>
    </p:spTree>
    <p:extLst>
      <p:ext uri="{BB962C8B-B14F-4D97-AF65-F5344CB8AC3E}">
        <p14:creationId xmlns:p14="http://schemas.microsoft.com/office/powerpoint/2010/main" val="11347800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60839" y="2657790"/>
            <a:ext cx="4975275" cy="4270989"/>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42538312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8" y="6559056"/>
            <a:ext cx="11553197"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771871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413063704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315667379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91932991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image" Target="../media/image1.png"/><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theme" Target="../theme/theme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theme" Target="../theme/theme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image" Target="../media/image9.emf"/><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image" Target="../media/image8.png"/><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theme" Target="../theme/theme5.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8"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4" Type="http://schemas.openxmlformats.org/officeDocument/2006/relationships/image" Target="../media/image19.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68" r:id="rId24"/>
    <p:sldLayoutId id="2147484346" r:id="rId25"/>
    <p:sldLayoutId id="2147484739" r:id="rId26"/>
  </p:sldLayoutIdLst>
  <p:transition>
    <p:fade/>
  </p:transition>
  <p:hf sldNum="0" hdr="0" ft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hf sldNum="0" hdr="0" ft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840360791"/>
      </p:ext>
    </p:extLst>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 id="2147484279" r:id="rId10"/>
    <p:sldLayoutId id="2147484280" r:id="rId11"/>
    <p:sldLayoutId id="2147484281" r:id="rId12"/>
    <p:sldLayoutId id="2147484282" r:id="rId13"/>
    <p:sldLayoutId id="2147484283" r:id="rId14"/>
    <p:sldLayoutId id="2147484284" r:id="rId15"/>
    <p:sldLayoutId id="2147484285" r:id="rId16"/>
    <p:sldLayoutId id="2147484286" r:id="rId17"/>
    <p:sldLayoutId id="2147484287" r:id="rId18"/>
    <p:sldLayoutId id="2147484288" r:id="rId19"/>
    <p:sldLayoutId id="2147484289" r:id="rId20"/>
    <p:sldLayoutId id="2147484290" r:id="rId21"/>
    <p:sldLayoutId id="2147484291" r:id="rId22"/>
    <p:sldLayoutId id="2147484292" r:id="rId23"/>
    <p:sldLayoutId id="2147484293" r:id="rId24"/>
    <p:sldLayoutId id="2147484294" r:id="rId25"/>
  </p:sldLayoutIdLst>
  <p:transition>
    <p:fade/>
  </p:transition>
  <p:hf sldNum="0" hdr="0" ft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9038302"/>
      </p:ext>
    </p:extLst>
  </p:cSld>
  <p:clrMap bg1="lt1" tx1="dk1" bg2="lt2" tx2="dk2" accent1="accent1" accent2="accent2" accent3="accent3" accent4="accent4" accent5="accent5" accent6="accent6" hlink="hlink" folHlink="folHlink"/>
  <p:sldLayoutIdLst>
    <p:sldLayoutId id="2147484296" r:id="rId1"/>
    <p:sldLayoutId id="2147484297" r:id="rId2"/>
    <p:sldLayoutId id="2147484298" r:id="rId3"/>
    <p:sldLayoutId id="2147484299" r:id="rId4"/>
    <p:sldLayoutId id="2147484300" r:id="rId5"/>
    <p:sldLayoutId id="2147484301" r:id="rId6"/>
    <p:sldLayoutId id="2147484302" r:id="rId7"/>
    <p:sldLayoutId id="2147484303" r:id="rId8"/>
    <p:sldLayoutId id="2147484304" r:id="rId9"/>
    <p:sldLayoutId id="2147484305" r:id="rId10"/>
    <p:sldLayoutId id="2147484306" r:id="rId11"/>
    <p:sldLayoutId id="2147484307" r:id="rId12"/>
    <p:sldLayoutId id="2147484308" r:id="rId13"/>
    <p:sldLayoutId id="2147484309" r:id="rId14"/>
    <p:sldLayoutId id="2147484310" r:id="rId15"/>
    <p:sldLayoutId id="2147484311" r:id="rId16"/>
    <p:sldLayoutId id="2147484312" r:id="rId17"/>
    <p:sldLayoutId id="2147484313" r:id="rId18"/>
    <p:sldLayoutId id="2147484314" r:id="rId1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2"/>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1777919791"/>
      </p:ext>
    </p:extLst>
  </p:cSld>
  <p:clrMap bg1="lt1" tx1="dk1" bg2="lt2" tx2="dk2" accent1="accent1" accent2="accent2" accent3="accent3" accent4="accent4" accent5="accent5" accent6="accent6" hlink="hlink" folHlink="folHlink"/>
  <p:sldLayoutIdLst>
    <p:sldLayoutId id="2147484316" r:id="rId1"/>
    <p:sldLayoutId id="2147484317" r:id="rId2"/>
    <p:sldLayoutId id="2147484318" r:id="rId3"/>
    <p:sldLayoutId id="2147484319" r:id="rId4"/>
    <p:sldLayoutId id="2147484320" r:id="rId5"/>
    <p:sldLayoutId id="2147484321" r:id="rId6"/>
    <p:sldLayoutId id="2147484322" r:id="rId7"/>
    <p:sldLayoutId id="2147484323" r:id="rId8"/>
    <p:sldLayoutId id="2147484324" r:id="rId9"/>
    <p:sldLayoutId id="2147484325" r:id="rId10"/>
    <p:sldLayoutId id="2147484326" r:id="rId11"/>
    <p:sldLayoutId id="2147484327" r:id="rId12"/>
    <p:sldLayoutId id="2147484328" r:id="rId13"/>
    <p:sldLayoutId id="2147484329" r:id="rId14"/>
    <p:sldLayoutId id="2147484330" r:id="rId15"/>
    <p:sldLayoutId id="2147484331" r:id="rId16"/>
    <p:sldLayoutId id="2147484332" r:id="rId17"/>
    <p:sldLayoutId id="2147484333" r:id="rId18"/>
    <p:sldLayoutId id="2147484334" r:id="rId19"/>
    <p:sldLayoutId id="2147484335" r:id="rId20"/>
    <p:sldLayoutId id="2147484336" r:id="rId21"/>
    <p:sldLayoutId id="2147484337" r:id="rId22"/>
    <p:sldLayoutId id="2147484338" r:id="rId23"/>
    <p:sldLayoutId id="2147484339" r:id="rId24"/>
    <p:sldLayoutId id="2147484340" r:id="rId25"/>
    <p:sldLayoutId id="2147484341" r:id="rId26"/>
    <p:sldLayoutId id="2147484342" r:id="rId27"/>
    <p:sldLayoutId id="2147484343" r:id="rId28"/>
    <p:sldLayoutId id="2147484344" r:id="rId29"/>
    <p:sldLayoutId id="2147484345" r:id="rId30"/>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096425"/>
      </p:ext>
    </p:extLst>
  </p:cSld>
  <p:clrMap bg1="lt1" tx1="dk1" bg2="lt2" tx2="dk2" accent1="accent1" accent2="accent2" accent3="accent3" accent4="accent4" accent5="accent5" accent6="accent6" hlink="hlink" folHlink="folHlink"/>
  <p:sldLayoutIdLst>
    <p:sldLayoutId id="2147484738" r:id="rId1"/>
    <p:sldLayoutId id="2147484734" r:id="rId2"/>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75" userDrawn="1">
          <p15:clr>
            <a:srgbClr val="C35EA4"/>
          </p15:clr>
        </p15:guide>
        <p15:guide id="17" pos="7460" userDrawn="1">
          <p15:clr>
            <a:srgbClr val="C35EA4"/>
          </p15:clr>
        </p15:guide>
        <p15:guide id="25" orient="horz" pos="376" userDrawn="1">
          <p15:clr>
            <a:srgbClr val="C35EA4"/>
          </p15:clr>
        </p15:guide>
        <p15:guide id="26" orient="horz" pos="4028" userDrawn="1">
          <p15:clr>
            <a:srgbClr val="C35EA4"/>
          </p15:clr>
        </p15:guide>
        <p15:guide id="27" orient="horz" pos="188" userDrawn="1">
          <p15:clr>
            <a:srgbClr val="A4A3A4"/>
          </p15:clr>
        </p15:guide>
        <p15:guide id="28" pos="189" userDrawn="1">
          <p15:clr>
            <a:srgbClr val="A4A3A4"/>
          </p15:clr>
        </p15:guide>
        <p15:guide id="29" orient="horz" pos="4217" userDrawn="1">
          <p15:clr>
            <a:srgbClr val="A4A3A4"/>
          </p15:clr>
        </p15:guide>
        <p15:guide id="30" pos="7645"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11.xml"/><Relationship Id="rId5" Type="http://schemas.openxmlformats.org/officeDocument/2006/relationships/image" Target="../media/image33.png"/><Relationship Id="rId4" Type="http://schemas.openxmlformats.org/officeDocument/2006/relationships/image" Target="../media/image32.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48.png"/><Relationship Id="rId3" Type="http://schemas.openxmlformats.org/officeDocument/2006/relationships/image" Target="../media/image34.emf"/><Relationship Id="rId7" Type="http://schemas.openxmlformats.org/officeDocument/2006/relationships/image" Target="../media/image38.png"/><Relationship Id="rId12" Type="http://schemas.openxmlformats.org/officeDocument/2006/relationships/image" Target="../media/image43.gif"/><Relationship Id="rId17" Type="http://schemas.openxmlformats.org/officeDocument/2006/relationships/image" Target="../media/image47.png"/><Relationship Id="rId2" Type="http://schemas.openxmlformats.org/officeDocument/2006/relationships/notesSlide" Target="../notesSlides/notesSlide13.xml"/><Relationship Id="rId16" Type="http://schemas.openxmlformats.org/officeDocument/2006/relationships/image" Target="../media/image46.png"/><Relationship Id="rId1" Type="http://schemas.openxmlformats.org/officeDocument/2006/relationships/slideLayout" Target="../slideLayouts/slideLayout6.xml"/><Relationship Id="rId6" Type="http://schemas.openxmlformats.org/officeDocument/2006/relationships/image" Target="../media/image37.emf"/><Relationship Id="rId11" Type="http://schemas.openxmlformats.org/officeDocument/2006/relationships/image" Target="../media/image42.png"/><Relationship Id="rId5" Type="http://schemas.openxmlformats.org/officeDocument/2006/relationships/image" Target="../media/image36.emf"/><Relationship Id="rId15" Type="http://schemas.openxmlformats.org/officeDocument/2006/relationships/image" Target="../media/image45.emf"/><Relationship Id="rId10" Type="http://schemas.openxmlformats.org/officeDocument/2006/relationships/image" Target="../media/image41.emf"/><Relationship Id="rId4" Type="http://schemas.openxmlformats.org/officeDocument/2006/relationships/image" Target="../media/image35.emf"/><Relationship Id="rId9" Type="http://schemas.openxmlformats.org/officeDocument/2006/relationships/image" Target="../media/image40.png"/><Relationship Id="rId14" Type="http://schemas.microsoft.com/office/2007/relationships/hdphoto" Target="../media/hdphoto1.wdp"/></Relationships>
</file>

<file path=ppt/slides/_rels/slide14.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48.png"/><Relationship Id="rId3" Type="http://schemas.openxmlformats.org/officeDocument/2006/relationships/image" Target="../media/image34.emf"/><Relationship Id="rId7" Type="http://schemas.openxmlformats.org/officeDocument/2006/relationships/image" Target="../media/image38.png"/><Relationship Id="rId12" Type="http://schemas.openxmlformats.org/officeDocument/2006/relationships/image" Target="../media/image43.gif"/><Relationship Id="rId17" Type="http://schemas.openxmlformats.org/officeDocument/2006/relationships/image" Target="../media/image47.png"/><Relationship Id="rId2" Type="http://schemas.openxmlformats.org/officeDocument/2006/relationships/notesSlide" Target="../notesSlides/notesSlide14.xml"/><Relationship Id="rId16" Type="http://schemas.openxmlformats.org/officeDocument/2006/relationships/image" Target="../media/image46.png"/><Relationship Id="rId1" Type="http://schemas.openxmlformats.org/officeDocument/2006/relationships/slideLayout" Target="../slideLayouts/slideLayout6.xml"/><Relationship Id="rId6" Type="http://schemas.openxmlformats.org/officeDocument/2006/relationships/image" Target="../media/image37.emf"/><Relationship Id="rId11" Type="http://schemas.openxmlformats.org/officeDocument/2006/relationships/image" Target="../media/image42.png"/><Relationship Id="rId5" Type="http://schemas.openxmlformats.org/officeDocument/2006/relationships/image" Target="../media/image36.emf"/><Relationship Id="rId15" Type="http://schemas.openxmlformats.org/officeDocument/2006/relationships/image" Target="../media/image45.emf"/><Relationship Id="rId10" Type="http://schemas.openxmlformats.org/officeDocument/2006/relationships/image" Target="../media/image41.emf"/><Relationship Id="rId4" Type="http://schemas.openxmlformats.org/officeDocument/2006/relationships/image" Target="../media/image35.emf"/><Relationship Id="rId9" Type="http://schemas.openxmlformats.org/officeDocument/2006/relationships/image" Target="../media/image40.png"/><Relationship Id="rId14" Type="http://schemas.microsoft.com/office/2007/relationships/hdphoto" Target="../media/hdphoto1.wdp"/></Relationships>
</file>

<file path=ppt/slides/_rels/slide15.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image" Target="../media/image50.svg"/><Relationship Id="rId7" Type="http://schemas.openxmlformats.org/officeDocument/2006/relationships/image" Target="../media/image54.png"/><Relationship Id="rId12" Type="http://schemas.openxmlformats.org/officeDocument/2006/relationships/image" Target="../media/image59.svg"/><Relationship Id="rId2" Type="http://schemas.openxmlformats.org/officeDocument/2006/relationships/image" Target="../media/image49.png"/><Relationship Id="rId1" Type="http://schemas.openxmlformats.org/officeDocument/2006/relationships/slideLayout" Target="../slideLayouts/slideLayout11.xml"/><Relationship Id="rId6" Type="http://schemas.openxmlformats.org/officeDocument/2006/relationships/image" Target="../media/image53.sv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svg"/><Relationship Id="rId4" Type="http://schemas.openxmlformats.org/officeDocument/2006/relationships/image" Target="../media/image51.png"/><Relationship Id="rId9" Type="http://schemas.openxmlformats.org/officeDocument/2006/relationships/image" Target="../media/image56.png"/></Relationships>
</file>

<file path=ppt/slides/_rels/slide16.xml.rels><?xml version="1.0" encoding="UTF-8" standalone="yes"?>
<Relationships xmlns="http://schemas.openxmlformats.org/package/2006/relationships"><Relationship Id="rId8" Type="http://schemas.openxmlformats.org/officeDocument/2006/relationships/image" Target="../media/image64.emf"/><Relationship Id="rId13" Type="http://schemas.openxmlformats.org/officeDocument/2006/relationships/image" Target="../media/image69.png"/><Relationship Id="rId3" Type="http://schemas.openxmlformats.org/officeDocument/2006/relationships/image" Target="../media/image60.emf"/><Relationship Id="rId7" Type="http://schemas.openxmlformats.org/officeDocument/2006/relationships/image" Target="../media/image37.emf"/><Relationship Id="rId12" Type="http://schemas.openxmlformats.org/officeDocument/2006/relationships/image" Target="../media/image68.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63.emf"/><Relationship Id="rId11" Type="http://schemas.openxmlformats.org/officeDocument/2006/relationships/image" Target="../media/image67.emf"/><Relationship Id="rId5" Type="http://schemas.openxmlformats.org/officeDocument/2006/relationships/image" Target="../media/image62.emf"/><Relationship Id="rId10" Type="http://schemas.openxmlformats.org/officeDocument/2006/relationships/image" Target="../media/image66.jpeg"/><Relationship Id="rId4" Type="http://schemas.openxmlformats.org/officeDocument/2006/relationships/image" Target="../media/image61.emf"/><Relationship Id="rId9" Type="http://schemas.openxmlformats.org/officeDocument/2006/relationships/image" Target="../media/image65.emf"/><Relationship Id="rId14" Type="http://schemas.openxmlformats.org/officeDocument/2006/relationships/image" Target="../media/image70.png"/></Relationships>
</file>

<file path=ppt/slides/_rels/slide1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73.png"/></Relationships>
</file>

<file path=ppt/slides/_rels/slide1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7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9.xml"/><Relationship Id="rId1" Type="http://schemas.openxmlformats.org/officeDocument/2006/relationships/slideLayout" Target="../slideLayouts/slideLayout6.xml"/><Relationship Id="rId5" Type="http://schemas.openxmlformats.org/officeDocument/2006/relationships/image" Target="../media/image78.png"/><Relationship Id="rId4" Type="http://schemas.openxmlformats.org/officeDocument/2006/relationships/image" Target="../media/image77.png"/></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81.png"/></Relationships>
</file>

<file path=ppt/slides/_rels/slide2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4.xml"/><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3" Type="http://schemas.openxmlformats.org/officeDocument/2006/relationships/hyperlink" Target="https://docs.microsoft.com/en-us/azure/aks/jenkins-continuous-deployment" TargetMode="External"/><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hyperlink" Target="https://docs.microsoft.com/en-us/azure/service-fabric/service-fabric-cicd-your-linux-applications-with-jenkins" TargetMode="External"/></Relationships>
</file>

<file path=ppt/slides/_rels/slide28.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29.xml.rels><?xml version="1.0" encoding="UTF-8" standalone="yes"?>
<Relationships xmlns="http://schemas.openxmlformats.org/package/2006/relationships"><Relationship Id="rId2" Type="http://schemas.openxmlformats.org/officeDocument/2006/relationships/hyperlink" Target="https://cloudblogs.microsoft.com/opensource/2018/11/27/tutorial-azure-devops-setup-cicd-pipeline-kubernetes-docker-helm/" TargetMode="Externa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74702" y="2125677"/>
            <a:ext cx="6402388" cy="3657560"/>
          </a:xfrm>
        </p:spPr>
        <p:txBody>
          <a:bodyPr/>
          <a:lstStyle/>
          <a:p>
            <a:r>
              <a:rPr lang="en-US" sz="3750">
                <a:ea typeface="+mj-lt"/>
                <a:cs typeface="+mj-lt"/>
              </a:rPr>
              <a:t>Modernizing Applications with Containers and Orchestrators</a:t>
            </a:r>
            <a:endParaRPr lang="en-US"/>
          </a:p>
        </p:txBody>
      </p:sp>
    </p:spTree>
    <p:extLst>
      <p:ext uri="{BB962C8B-B14F-4D97-AF65-F5344CB8AC3E}">
        <p14:creationId xmlns:p14="http://schemas.microsoft.com/office/powerpoint/2010/main" val="2715238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167758-A408-481B-A88D-85B8E25EA98D}"/>
              </a:ext>
            </a:extLst>
          </p:cNvPr>
          <p:cNvSpPr>
            <a:spLocks noGrp="1"/>
          </p:cNvSpPr>
          <p:nvPr>
            <p:ph type="title"/>
          </p:nvPr>
        </p:nvSpPr>
        <p:spPr/>
        <p:txBody>
          <a:bodyPr/>
          <a:lstStyle/>
          <a:p>
            <a:r>
              <a:rPr lang="en-US">
                <a:solidFill>
                  <a:srgbClr val="0078D7"/>
                </a:solidFill>
              </a:rPr>
              <a:t>Azure DevOps</a:t>
            </a:r>
          </a:p>
        </p:txBody>
      </p:sp>
      <p:sp>
        <p:nvSpPr>
          <p:cNvPr id="20" name="TextBox 19">
            <a:extLst>
              <a:ext uri="{FF2B5EF4-FFF2-40B4-BE49-F238E27FC236}">
                <a16:creationId xmlns:a16="http://schemas.microsoft.com/office/drawing/2014/main" id="{A0A4A143-27D4-49CE-ACD0-037EABF28846}"/>
              </a:ext>
            </a:extLst>
          </p:cNvPr>
          <p:cNvSpPr txBox="1"/>
          <p:nvPr/>
        </p:nvSpPr>
        <p:spPr>
          <a:xfrm>
            <a:off x="434975" y="2868497"/>
            <a:ext cx="3090431" cy="1280351"/>
          </a:xfrm>
          <a:prstGeom prst="rect">
            <a:avLst/>
          </a:prstGeom>
          <a:noFill/>
        </p:spPr>
        <p:txBody>
          <a:bodyPr wrap="square" lIns="0" tIns="146304" rIns="0" bIns="146304" rtlCol="0" anchor="t">
            <a:spAutoFit/>
          </a:bodyPr>
          <a:lstStyle/>
          <a:p>
            <a:pPr>
              <a:spcAft>
                <a:spcPts val="600"/>
              </a:spcAft>
            </a:pPr>
            <a:r>
              <a:rPr lang="en-GB" sz="1600">
                <a:solidFill>
                  <a:schemeClr val="tx1">
                    <a:lumMod val="50000"/>
                    <a:lumOff val="50000"/>
                  </a:schemeClr>
                </a:solidFill>
              </a:rPr>
              <a:t>Deliver value to your users faster using proven agile tools to plan, track, and discuss work across your teams.</a:t>
            </a:r>
            <a:endParaRPr lang="en-US" sz="1600">
              <a:solidFill>
                <a:schemeClr val="tx1">
                  <a:lumMod val="50000"/>
                  <a:lumOff val="50000"/>
                </a:schemeClr>
              </a:solidFill>
              <a:cs typeface="Segoe UI"/>
            </a:endParaRPr>
          </a:p>
        </p:txBody>
      </p:sp>
      <p:sp>
        <p:nvSpPr>
          <p:cNvPr id="22" name="TextBox 21">
            <a:extLst>
              <a:ext uri="{FF2B5EF4-FFF2-40B4-BE49-F238E27FC236}">
                <a16:creationId xmlns:a16="http://schemas.microsoft.com/office/drawing/2014/main" id="{A75A09E4-D0A3-4556-9C0F-105DF4577D44}"/>
              </a:ext>
            </a:extLst>
          </p:cNvPr>
          <p:cNvSpPr txBox="1"/>
          <p:nvPr/>
        </p:nvSpPr>
        <p:spPr>
          <a:xfrm>
            <a:off x="4363361" y="2868497"/>
            <a:ext cx="3471849" cy="1526572"/>
          </a:xfrm>
          <a:prstGeom prst="rect">
            <a:avLst/>
          </a:prstGeom>
          <a:noFill/>
        </p:spPr>
        <p:txBody>
          <a:bodyPr wrap="square" lIns="0" tIns="146304" rIns="0" bIns="146304" rtlCol="0" anchor="t">
            <a:spAutoFit/>
          </a:bodyPr>
          <a:lstStyle/>
          <a:p>
            <a:pPr>
              <a:spcAft>
                <a:spcPts val="600"/>
              </a:spcAft>
            </a:pPr>
            <a:r>
              <a:rPr lang="en-GB" sz="1600">
                <a:solidFill>
                  <a:schemeClr val="tx1">
                    <a:lumMod val="50000"/>
                    <a:lumOff val="50000"/>
                  </a:schemeClr>
                </a:solidFill>
              </a:rPr>
              <a:t>Build, test, and deploy with CI/CD that works with any language, platform, and cloud. Connect to GitHub or any other Git provider and deploy continuously.</a:t>
            </a:r>
            <a:endParaRPr lang="en-US" sz="1600">
              <a:solidFill>
                <a:schemeClr val="tx1">
                  <a:lumMod val="50000"/>
                  <a:lumOff val="50000"/>
                </a:schemeClr>
              </a:solidFill>
              <a:cs typeface="Segoe UI"/>
            </a:endParaRPr>
          </a:p>
        </p:txBody>
      </p:sp>
      <p:sp>
        <p:nvSpPr>
          <p:cNvPr id="23" name="TextBox 22">
            <a:extLst>
              <a:ext uri="{FF2B5EF4-FFF2-40B4-BE49-F238E27FC236}">
                <a16:creationId xmlns:a16="http://schemas.microsoft.com/office/drawing/2014/main" id="{7ABC2ECF-9D16-4093-A397-AC9C75D0D69F}"/>
              </a:ext>
            </a:extLst>
          </p:cNvPr>
          <p:cNvSpPr txBox="1"/>
          <p:nvPr/>
        </p:nvSpPr>
        <p:spPr>
          <a:xfrm>
            <a:off x="8503633" y="2868497"/>
            <a:ext cx="3097490" cy="1526572"/>
          </a:xfrm>
          <a:prstGeom prst="rect">
            <a:avLst/>
          </a:prstGeom>
          <a:noFill/>
        </p:spPr>
        <p:txBody>
          <a:bodyPr wrap="square" lIns="0" tIns="146304" rIns="0" bIns="146304" rtlCol="0" anchor="t">
            <a:spAutoFit/>
          </a:bodyPr>
          <a:lstStyle/>
          <a:p>
            <a:pPr>
              <a:spcAft>
                <a:spcPts val="600"/>
              </a:spcAft>
            </a:pPr>
            <a:r>
              <a:rPr lang="en-GB" sz="1600">
                <a:solidFill>
                  <a:schemeClr val="tx1">
                    <a:lumMod val="50000"/>
                    <a:lumOff val="50000"/>
                  </a:schemeClr>
                </a:solidFill>
              </a:rPr>
              <a:t>Get unlimited, cloud-hosted private Git repos and collaborate to build better code with pull requests and advanced file management.</a:t>
            </a:r>
            <a:endParaRPr lang="en-US" sz="1600">
              <a:solidFill>
                <a:schemeClr val="tx1">
                  <a:lumMod val="50000"/>
                  <a:lumOff val="50000"/>
                </a:schemeClr>
              </a:solidFill>
              <a:cs typeface="Segoe UI"/>
            </a:endParaRPr>
          </a:p>
        </p:txBody>
      </p:sp>
      <p:sp>
        <p:nvSpPr>
          <p:cNvPr id="24" name="TextBox 23">
            <a:extLst>
              <a:ext uri="{FF2B5EF4-FFF2-40B4-BE49-F238E27FC236}">
                <a16:creationId xmlns:a16="http://schemas.microsoft.com/office/drawing/2014/main" id="{F6FCEA51-5644-4108-8529-B8070762AC30}"/>
              </a:ext>
            </a:extLst>
          </p:cNvPr>
          <p:cNvSpPr txBox="1"/>
          <p:nvPr/>
        </p:nvSpPr>
        <p:spPr>
          <a:xfrm>
            <a:off x="434975" y="5569260"/>
            <a:ext cx="2989403" cy="1034129"/>
          </a:xfrm>
          <a:prstGeom prst="rect">
            <a:avLst/>
          </a:prstGeom>
          <a:noFill/>
        </p:spPr>
        <p:txBody>
          <a:bodyPr wrap="square" lIns="0" tIns="146304" rIns="0" bIns="146304" rtlCol="0" anchor="t">
            <a:spAutoFit/>
          </a:bodyPr>
          <a:lstStyle/>
          <a:p>
            <a:pPr>
              <a:spcAft>
                <a:spcPts val="600"/>
              </a:spcAft>
            </a:pPr>
            <a:r>
              <a:rPr lang="en-GB" sz="1600">
                <a:solidFill>
                  <a:schemeClr val="tx1">
                    <a:lumMod val="50000"/>
                    <a:lumOff val="50000"/>
                  </a:schemeClr>
                </a:solidFill>
              </a:rPr>
              <a:t>Test and ship with confidence using manual and exploratory testing tools.</a:t>
            </a:r>
            <a:endParaRPr lang="en-US" sz="1600">
              <a:solidFill>
                <a:schemeClr val="tx1">
                  <a:lumMod val="50000"/>
                  <a:lumOff val="50000"/>
                </a:schemeClr>
              </a:solidFill>
              <a:cs typeface="Segoe UI"/>
            </a:endParaRPr>
          </a:p>
        </p:txBody>
      </p:sp>
      <p:sp>
        <p:nvSpPr>
          <p:cNvPr id="25" name="TextBox 24">
            <a:extLst>
              <a:ext uri="{FF2B5EF4-FFF2-40B4-BE49-F238E27FC236}">
                <a16:creationId xmlns:a16="http://schemas.microsoft.com/office/drawing/2014/main" id="{A333F065-998E-4214-AEF0-1D4D56125E51}"/>
              </a:ext>
            </a:extLst>
          </p:cNvPr>
          <p:cNvSpPr txBox="1"/>
          <p:nvPr/>
        </p:nvSpPr>
        <p:spPr>
          <a:xfrm>
            <a:off x="4363361" y="5569260"/>
            <a:ext cx="3435166" cy="1034129"/>
          </a:xfrm>
          <a:prstGeom prst="rect">
            <a:avLst/>
          </a:prstGeom>
          <a:noFill/>
        </p:spPr>
        <p:txBody>
          <a:bodyPr wrap="square" lIns="0" tIns="146304" rIns="0" bIns="146304" rtlCol="0" anchor="t">
            <a:spAutoFit/>
          </a:bodyPr>
          <a:lstStyle/>
          <a:p>
            <a:pPr>
              <a:spcAft>
                <a:spcPts val="600"/>
              </a:spcAft>
            </a:pPr>
            <a:r>
              <a:rPr lang="en-GB" sz="1600">
                <a:solidFill>
                  <a:schemeClr val="tx1">
                    <a:lumMod val="50000"/>
                    <a:lumOff val="50000"/>
                  </a:schemeClr>
                </a:solidFill>
              </a:rPr>
              <a:t>Create, host, and share packages with your team, and add </a:t>
            </a:r>
            <a:r>
              <a:rPr lang="en-GB" sz="1600" err="1">
                <a:solidFill>
                  <a:schemeClr val="tx1">
                    <a:lumMod val="50000"/>
                    <a:lumOff val="50000"/>
                  </a:schemeClr>
                </a:solidFill>
              </a:rPr>
              <a:t>artifacts</a:t>
            </a:r>
            <a:r>
              <a:rPr lang="en-GB" sz="1600">
                <a:solidFill>
                  <a:schemeClr val="tx1">
                    <a:lumMod val="50000"/>
                    <a:lumOff val="50000"/>
                  </a:schemeClr>
                </a:solidFill>
              </a:rPr>
              <a:t> to your CI/CD pipelines with a single click.</a:t>
            </a:r>
            <a:endParaRPr lang="en-US" sz="1600">
              <a:solidFill>
                <a:schemeClr val="tx1">
                  <a:lumMod val="50000"/>
                  <a:lumOff val="50000"/>
                </a:schemeClr>
              </a:solidFill>
              <a:cs typeface="Segoe UI"/>
            </a:endParaRPr>
          </a:p>
        </p:txBody>
      </p:sp>
      <p:pic>
        <p:nvPicPr>
          <p:cNvPr id="14" name="Picture 4">
            <a:extLst>
              <a:ext uri="{FF2B5EF4-FFF2-40B4-BE49-F238E27FC236}">
                <a16:creationId xmlns:a16="http://schemas.microsoft.com/office/drawing/2014/main" id="{AC2AB146-06C0-4E0D-8899-5ADB9DA1723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63361" y="1801851"/>
            <a:ext cx="722780" cy="720000"/>
          </a:xfrm>
          <a:prstGeom prst="rect">
            <a:avLst/>
          </a:prstGeom>
        </p:spPr>
      </p:pic>
      <p:pic>
        <p:nvPicPr>
          <p:cNvPr id="15" name="Picture 6">
            <a:extLst>
              <a:ext uri="{FF2B5EF4-FFF2-40B4-BE49-F238E27FC236}">
                <a16:creationId xmlns:a16="http://schemas.microsoft.com/office/drawing/2014/main" id="{4F632D14-7C31-47CA-BC92-820474ACB39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363361" y="4523236"/>
            <a:ext cx="736540" cy="720000"/>
          </a:xfrm>
          <a:prstGeom prst="rect">
            <a:avLst/>
          </a:prstGeom>
        </p:spPr>
      </p:pic>
      <p:pic>
        <p:nvPicPr>
          <p:cNvPr id="16" name="Picture 8">
            <a:extLst>
              <a:ext uri="{FF2B5EF4-FFF2-40B4-BE49-F238E27FC236}">
                <a16:creationId xmlns:a16="http://schemas.microsoft.com/office/drawing/2014/main" id="{228FD8FB-8B6C-4A6D-BCA2-229F0890F98C}"/>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34975" y="1801851"/>
            <a:ext cx="736920" cy="720000"/>
          </a:xfrm>
          <a:prstGeom prst="rect">
            <a:avLst/>
          </a:prstGeom>
        </p:spPr>
      </p:pic>
      <p:pic>
        <p:nvPicPr>
          <p:cNvPr id="17" name="Picture 10">
            <a:extLst>
              <a:ext uri="{FF2B5EF4-FFF2-40B4-BE49-F238E27FC236}">
                <a16:creationId xmlns:a16="http://schemas.microsoft.com/office/drawing/2014/main" id="{6406FE2F-92A4-4316-B249-0BFC11B2E2B5}"/>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8503633" y="1801851"/>
            <a:ext cx="729080" cy="720000"/>
          </a:xfrm>
          <a:prstGeom prst="rect">
            <a:avLst/>
          </a:prstGeom>
        </p:spPr>
      </p:pic>
      <p:pic>
        <p:nvPicPr>
          <p:cNvPr id="32" name="Picture 12">
            <a:extLst>
              <a:ext uri="{FF2B5EF4-FFF2-40B4-BE49-F238E27FC236}">
                <a16:creationId xmlns:a16="http://schemas.microsoft.com/office/drawing/2014/main" id="{0B3C4841-DF3A-4896-9BC5-D1CFA36142CD}"/>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434975" y="4523236"/>
            <a:ext cx="711680" cy="720000"/>
          </a:xfrm>
          <a:prstGeom prst="rect">
            <a:avLst/>
          </a:prstGeom>
        </p:spPr>
      </p:pic>
      <p:sp>
        <p:nvSpPr>
          <p:cNvPr id="34" name="TextBox 33">
            <a:extLst>
              <a:ext uri="{FF2B5EF4-FFF2-40B4-BE49-F238E27FC236}">
                <a16:creationId xmlns:a16="http://schemas.microsoft.com/office/drawing/2014/main" id="{E014A36B-D94A-41AA-ABC4-706C13E17949}"/>
              </a:ext>
            </a:extLst>
          </p:cNvPr>
          <p:cNvSpPr txBox="1"/>
          <p:nvPr/>
        </p:nvSpPr>
        <p:spPr>
          <a:xfrm>
            <a:off x="434975" y="2500142"/>
            <a:ext cx="1375024"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a:solidFill>
                  <a:srgbClr val="00B294"/>
                </a:solidFill>
                <a:latin typeface="+mj-lt"/>
              </a:rPr>
              <a:t>Azure Boards</a:t>
            </a:r>
            <a:endParaRPr lang="en-US" sz="1800">
              <a:solidFill>
                <a:srgbClr val="00B294"/>
              </a:solidFill>
              <a:latin typeface="+mj-lt"/>
              <a:cs typeface="Segoe UI"/>
            </a:endParaRPr>
          </a:p>
        </p:txBody>
      </p:sp>
      <p:sp>
        <p:nvSpPr>
          <p:cNvPr id="38" name="TextBox 37">
            <a:extLst>
              <a:ext uri="{FF2B5EF4-FFF2-40B4-BE49-F238E27FC236}">
                <a16:creationId xmlns:a16="http://schemas.microsoft.com/office/drawing/2014/main" id="{26723BC6-71C2-4778-A910-FC4F6D0C92B6}"/>
              </a:ext>
            </a:extLst>
          </p:cNvPr>
          <p:cNvSpPr txBox="1"/>
          <p:nvPr/>
        </p:nvSpPr>
        <p:spPr>
          <a:xfrm>
            <a:off x="8503633" y="2500142"/>
            <a:ext cx="1680163"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a:solidFill>
                  <a:srgbClr val="D83B01"/>
                </a:solidFill>
                <a:latin typeface="+mj-lt"/>
              </a:rPr>
              <a:t>Azure </a:t>
            </a:r>
            <a:r>
              <a:rPr lang="en-US" sz="1800">
                <a:solidFill>
                  <a:srgbClr val="D83B01"/>
                </a:solidFill>
                <a:latin typeface="+mj-lt"/>
                <a:cs typeface="Segoe UI"/>
              </a:rPr>
              <a:t>Repos</a:t>
            </a:r>
          </a:p>
        </p:txBody>
      </p:sp>
      <p:sp>
        <p:nvSpPr>
          <p:cNvPr id="40" name="TextBox 39">
            <a:extLst>
              <a:ext uri="{FF2B5EF4-FFF2-40B4-BE49-F238E27FC236}">
                <a16:creationId xmlns:a16="http://schemas.microsoft.com/office/drawing/2014/main" id="{C45923DE-E387-4F99-A087-AD2AB3104B2B}"/>
              </a:ext>
            </a:extLst>
          </p:cNvPr>
          <p:cNvSpPr txBox="1"/>
          <p:nvPr/>
        </p:nvSpPr>
        <p:spPr>
          <a:xfrm>
            <a:off x="4363361" y="2500142"/>
            <a:ext cx="1948251"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a:solidFill>
                  <a:srgbClr val="2560E0"/>
                </a:solidFill>
                <a:latin typeface="+mj-lt"/>
              </a:rPr>
              <a:t>Azure Pipelines</a:t>
            </a:r>
            <a:endParaRPr lang="en-US" sz="1800">
              <a:solidFill>
                <a:srgbClr val="2560E0"/>
              </a:solidFill>
              <a:latin typeface="+mj-lt"/>
              <a:cs typeface="Segoe UI"/>
            </a:endParaRPr>
          </a:p>
        </p:txBody>
      </p:sp>
      <p:sp>
        <p:nvSpPr>
          <p:cNvPr id="42" name="TextBox 41">
            <a:extLst>
              <a:ext uri="{FF2B5EF4-FFF2-40B4-BE49-F238E27FC236}">
                <a16:creationId xmlns:a16="http://schemas.microsoft.com/office/drawing/2014/main" id="{1858EA85-8972-478E-99E1-97FBD1FE21B6}"/>
              </a:ext>
            </a:extLst>
          </p:cNvPr>
          <p:cNvSpPr txBox="1"/>
          <p:nvPr/>
        </p:nvSpPr>
        <p:spPr>
          <a:xfrm>
            <a:off x="434975" y="5190892"/>
            <a:ext cx="1841403"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a:solidFill>
                  <a:srgbClr val="854CC7"/>
                </a:solidFill>
                <a:latin typeface="+mj-lt"/>
              </a:rPr>
              <a:t>Azure Test</a:t>
            </a:r>
            <a:r>
              <a:rPr lang="en-US" sz="1800">
                <a:solidFill>
                  <a:srgbClr val="854CC7"/>
                </a:solidFill>
                <a:latin typeface="+mj-lt"/>
                <a:cs typeface="Segoe UI"/>
              </a:rPr>
              <a:t> Plans</a:t>
            </a:r>
          </a:p>
        </p:txBody>
      </p:sp>
      <p:sp>
        <p:nvSpPr>
          <p:cNvPr id="44" name="TextBox 43">
            <a:extLst>
              <a:ext uri="{FF2B5EF4-FFF2-40B4-BE49-F238E27FC236}">
                <a16:creationId xmlns:a16="http://schemas.microsoft.com/office/drawing/2014/main" id="{D16F3FDE-2095-49A1-AA0D-572CE3108B96}"/>
              </a:ext>
            </a:extLst>
          </p:cNvPr>
          <p:cNvSpPr txBox="1"/>
          <p:nvPr/>
        </p:nvSpPr>
        <p:spPr>
          <a:xfrm>
            <a:off x="4363361" y="5190892"/>
            <a:ext cx="2055243"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a:solidFill>
                  <a:srgbClr val="CB2E6D"/>
                </a:solidFill>
                <a:latin typeface="+mj-lt"/>
              </a:rPr>
              <a:t>Azure Artifacts</a:t>
            </a:r>
            <a:endParaRPr lang="en-US" sz="1800">
              <a:solidFill>
                <a:srgbClr val="CB2E6D"/>
              </a:solidFill>
              <a:latin typeface="+mj-lt"/>
              <a:cs typeface="Segoe UI"/>
            </a:endParaRPr>
          </a:p>
        </p:txBody>
      </p:sp>
      <p:sp>
        <p:nvSpPr>
          <p:cNvPr id="46" name="Text Placeholder 3">
            <a:extLst>
              <a:ext uri="{FF2B5EF4-FFF2-40B4-BE49-F238E27FC236}">
                <a16:creationId xmlns:a16="http://schemas.microsoft.com/office/drawing/2014/main" id="{6EE07CBF-F42D-4F50-8FAD-B351239B994B}"/>
              </a:ext>
            </a:extLst>
          </p:cNvPr>
          <p:cNvSpPr txBox="1">
            <a:spLocks/>
          </p:cNvSpPr>
          <p:nvPr/>
        </p:nvSpPr>
        <p:spPr>
          <a:xfrm>
            <a:off x="8521557" y="6155651"/>
            <a:ext cx="3251672"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i="0" u="none" strike="noStrike" kern="1200" cap="none" spc="0" normalizeH="0" baseline="0" noProof="0">
                <a:ln>
                  <a:noFill/>
                </a:ln>
                <a:solidFill>
                  <a:schemeClr val="tx2"/>
                </a:solidFill>
                <a:effectLst/>
                <a:uLnTx/>
                <a:uFillTx/>
                <a:latin typeface="Segoe UI Semibold" panose="020B0702040204020203" pitchFamily="34" charset="0"/>
                <a:cs typeface="Segoe UI Semibold" panose="020B0702040204020203" pitchFamily="34" charset="0"/>
              </a:rPr>
              <a:t>https://azure.com/devops</a:t>
            </a:r>
            <a:endParaRPr lang="en-US" sz="1800" i="0" u="none" strike="noStrike" kern="1200" cap="none" spc="0" baseline="0" noProof="0">
              <a:solidFill>
                <a:schemeClr val="tx2"/>
              </a:solidFill>
              <a:latin typeface="Segoe UI Semibold" panose="020B0702040204020203" pitchFamily="34" charset="0"/>
              <a:cs typeface="Segoe UI Semibold" panose="020B0702040204020203" pitchFamily="34" charset="0"/>
            </a:endParaRPr>
          </a:p>
        </p:txBody>
      </p:sp>
      <p:sp>
        <p:nvSpPr>
          <p:cNvPr id="21" name="Oval 20">
            <a:extLst>
              <a:ext uri="{FF2B5EF4-FFF2-40B4-BE49-F238E27FC236}">
                <a16:creationId xmlns:a16="http://schemas.microsoft.com/office/drawing/2014/main" id="{EFCBDEDB-9EFD-4704-A993-809D37ECB627}"/>
              </a:ext>
              <a:ext uri="{C183D7F6-B498-43B3-948B-1728B52AA6E4}">
                <adec:decorative xmlns:adec="http://schemas.microsoft.com/office/drawing/2017/decorative" val="1"/>
              </a:ext>
            </a:extLst>
          </p:cNvPr>
          <p:cNvSpPr/>
          <p:nvPr/>
        </p:nvSpPr>
        <p:spPr bwMode="auto">
          <a:xfrm>
            <a:off x="8521557" y="5325124"/>
            <a:ext cx="711156" cy="711152"/>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a:ln w="19050">
                  <a:noFill/>
                </a:ln>
                <a:solidFill>
                  <a:schemeClr val="tx2"/>
                </a:solidFill>
                <a:effectLst/>
                <a:uLnTx/>
                <a:uFillTx/>
                <a:latin typeface="Segoe UI"/>
                <a:ea typeface="Segoe UI" pitchFamily="34" charset="0"/>
                <a:cs typeface="Segoe UI" pitchFamily="34" charset="0"/>
                <a:sym typeface="Wingdings" panose="05000000000000000000" pitchFamily="2" charset="2"/>
              </a:rPr>
              <a:t></a:t>
            </a:r>
            <a:endParaRPr kumimoji="0" lang="en-US" sz="3600" b="0" i="0" u="none" strike="noStrike" kern="0" cap="none" spc="0" normalizeH="0" baseline="0" noProof="0">
              <a:ln w="19050">
                <a:noFill/>
              </a:ln>
              <a:solidFill>
                <a:schemeClr val="tx2"/>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96196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solidFill>
                  <a:schemeClr val="accent3"/>
                </a:solidFill>
              </a:rPr>
              <a:t>DevOps on Azure framework</a:t>
            </a:r>
          </a:p>
        </p:txBody>
      </p:sp>
      <p:grpSp>
        <p:nvGrpSpPr>
          <p:cNvPr id="155" name="Group 154">
            <a:extLst>
              <a:ext uri="{FF2B5EF4-FFF2-40B4-BE49-F238E27FC236}">
                <a16:creationId xmlns:a16="http://schemas.microsoft.com/office/drawing/2014/main" id="{61E78347-F4FA-40D0-A22A-3678E13882D0}"/>
              </a:ext>
            </a:extLst>
          </p:cNvPr>
          <p:cNvGrpSpPr/>
          <p:nvPr/>
        </p:nvGrpSpPr>
        <p:grpSpPr>
          <a:xfrm>
            <a:off x="3648496" y="2788181"/>
            <a:ext cx="665568" cy="850326"/>
            <a:chOff x="3648496" y="5061631"/>
            <a:chExt cx="665568" cy="850326"/>
          </a:xfrm>
        </p:grpSpPr>
        <p:pic>
          <p:nvPicPr>
            <p:cNvPr id="156" name="Picture 155">
              <a:extLst>
                <a:ext uri="{FF2B5EF4-FFF2-40B4-BE49-F238E27FC236}">
                  <a16:creationId xmlns:a16="http://schemas.microsoft.com/office/drawing/2014/main" id="{972ADD28-F681-4522-A81B-7C9993C30A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29820" y="5061631"/>
              <a:ext cx="502920" cy="502917"/>
            </a:xfrm>
            <a:prstGeom prst="rect">
              <a:avLst/>
            </a:prstGeom>
          </p:spPr>
        </p:pic>
        <p:sp>
          <p:nvSpPr>
            <p:cNvPr id="157" name="Rectangle 156">
              <a:extLst>
                <a:ext uri="{FF2B5EF4-FFF2-40B4-BE49-F238E27FC236}">
                  <a16:creationId xmlns:a16="http://schemas.microsoft.com/office/drawing/2014/main" id="{209AC388-E961-4BF3-8B9E-F3136BE175DB}"/>
                </a:ext>
              </a:extLst>
            </p:cNvPr>
            <p:cNvSpPr/>
            <p:nvPr/>
          </p:nvSpPr>
          <p:spPr>
            <a:xfrm>
              <a:off x="3648496" y="5634958"/>
              <a:ext cx="665568" cy="276999"/>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GitHub</a:t>
              </a:r>
            </a:p>
          </p:txBody>
        </p:sp>
      </p:grpSp>
      <p:sp>
        <p:nvSpPr>
          <p:cNvPr id="1036" name="Rectangle 1035">
            <a:extLst>
              <a:ext uri="{FF2B5EF4-FFF2-40B4-BE49-F238E27FC236}">
                <a16:creationId xmlns:a16="http://schemas.microsoft.com/office/drawing/2014/main" id="{6FBE8CF3-84BD-460C-8C85-5A91C9C8E4EF}"/>
              </a:ext>
            </a:extLst>
          </p:cNvPr>
          <p:cNvSpPr/>
          <p:nvPr/>
        </p:nvSpPr>
        <p:spPr bwMode="auto">
          <a:xfrm>
            <a:off x="3546821" y="2668708"/>
            <a:ext cx="839295" cy="100452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020CCF45-0DB2-4031-B169-E896C170F03A}"/>
              </a:ext>
            </a:extLst>
          </p:cNvPr>
          <p:cNvSpPr/>
          <p:nvPr/>
        </p:nvSpPr>
        <p:spPr>
          <a:xfrm>
            <a:off x="9481589" y="1868671"/>
            <a:ext cx="1655326" cy="338554"/>
          </a:xfrm>
          <a:prstGeom prst="rect">
            <a:avLst/>
          </a:prstGeom>
        </p:spPr>
        <p:txBody>
          <a:bodyPr wrap="none">
            <a:spAutoFit/>
          </a:bodyPr>
          <a:lstStyle/>
          <a:p>
            <a:pPr algn="ctr" defTabSz="895497">
              <a:defRPr/>
            </a:pPr>
            <a:r>
              <a:rPr lang="en-US" sz="1600" spc="-29">
                <a:solidFill>
                  <a:srgbClr val="0F78D4"/>
                </a:solidFill>
                <a:latin typeface="Segoe UI Semibold"/>
                <a:cs typeface="Segoe UI" panose="020B0502040204020203" pitchFamily="34" charset="0"/>
              </a:rPr>
              <a:t>Monitor &amp; Learn</a:t>
            </a:r>
          </a:p>
        </p:txBody>
      </p:sp>
      <p:sp>
        <p:nvSpPr>
          <p:cNvPr id="19" name="Rectangle 18">
            <a:extLst>
              <a:ext uri="{FF2B5EF4-FFF2-40B4-BE49-F238E27FC236}">
                <a16:creationId xmlns:a16="http://schemas.microsoft.com/office/drawing/2014/main" id="{99808DD5-8657-493D-BFDF-B2F57C7DF9DE}"/>
              </a:ext>
            </a:extLst>
          </p:cNvPr>
          <p:cNvSpPr/>
          <p:nvPr/>
        </p:nvSpPr>
        <p:spPr>
          <a:xfrm>
            <a:off x="8271896" y="1868671"/>
            <a:ext cx="910827" cy="338554"/>
          </a:xfrm>
          <a:prstGeom prst="rect">
            <a:avLst/>
          </a:prstGeom>
        </p:spPr>
        <p:txBody>
          <a:bodyPr wrap="none">
            <a:spAutoFit/>
          </a:bodyPr>
          <a:lstStyle/>
          <a:p>
            <a:pPr algn="ctr" defTabSz="895497">
              <a:defRPr/>
            </a:pPr>
            <a:r>
              <a:rPr lang="en-US" sz="1600" spc="-29">
                <a:solidFill>
                  <a:srgbClr val="0F78D4"/>
                </a:solidFill>
                <a:latin typeface="Segoe UI Semibold"/>
                <a:cs typeface="Segoe UI" panose="020B0502040204020203" pitchFamily="34" charset="0"/>
              </a:rPr>
              <a:t>Operate</a:t>
            </a:r>
          </a:p>
        </p:txBody>
      </p:sp>
      <p:sp>
        <p:nvSpPr>
          <p:cNvPr id="20" name="Rectangle 19">
            <a:extLst>
              <a:ext uri="{FF2B5EF4-FFF2-40B4-BE49-F238E27FC236}">
                <a16:creationId xmlns:a16="http://schemas.microsoft.com/office/drawing/2014/main" id="{F10C8979-4468-4700-81F5-FF6ACA802DE0}"/>
              </a:ext>
            </a:extLst>
          </p:cNvPr>
          <p:cNvSpPr/>
          <p:nvPr/>
        </p:nvSpPr>
        <p:spPr>
          <a:xfrm>
            <a:off x="4944594" y="1868671"/>
            <a:ext cx="1237391" cy="338554"/>
          </a:xfrm>
          <a:prstGeom prst="rect">
            <a:avLst/>
          </a:prstGeom>
        </p:spPr>
        <p:txBody>
          <a:bodyPr wrap="none">
            <a:spAutoFit/>
          </a:bodyPr>
          <a:lstStyle/>
          <a:p>
            <a:pPr algn="ctr" defTabSz="895497">
              <a:defRPr/>
            </a:pPr>
            <a:r>
              <a:rPr lang="en-US" sz="1600" spc="-29">
                <a:solidFill>
                  <a:srgbClr val="0F78D4"/>
                </a:solidFill>
                <a:latin typeface="Segoe UI Semibold"/>
                <a:cs typeface="Segoe UI" panose="020B0502040204020203" pitchFamily="34" charset="0"/>
              </a:rPr>
              <a:t>Build &amp; Test</a:t>
            </a:r>
          </a:p>
        </p:txBody>
      </p:sp>
      <p:sp>
        <p:nvSpPr>
          <p:cNvPr id="21" name="Rectangle 20">
            <a:extLst>
              <a:ext uri="{FF2B5EF4-FFF2-40B4-BE49-F238E27FC236}">
                <a16:creationId xmlns:a16="http://schemas.microsoft.com/office/drawing/2014/main" id="{54F1582E-546A-484A-9CAC-5C6BFF01B1B2}"/>
              </a:ext>
            </a:extLst>
          </p:cNvPr>
          <p:cNvSpPr/>
          <p:nvPr/>
        </p:nvSpPr>
        <p:spPr>
          <a:xfrm>
            <a:off x="1758189" y="1868671"/>
            <a:ext cx="1283878" cy="338554"/>
          </a:xfrm>
          <a:prstGeom prst="rect">
            <a:avLst/>
          </a:prstGeom>
        </p:spPr>
        <p:txBody>
          <a:bodyPr wrap="none">
            <a:spAutoFit/>
          </a:bodyPr>
          <a:lstStyle/>
          <a:p>
            <a:pPr algn="ctr" defTabSz="895497">
              <a:defRPr/>
            </a:pPr>
            <a:r>
              <a:rPr lang="en-US" sz="1600" spc="-29">
                <a:solidFill>
                  <a:srgbClr val="0F78D4"/>
                </a:solidFill>
                <a:latin typeface="Segoe UI Semibold"/>
                <a:cs typeface="Segoe UI" panose="020B0502040204020203" pitchFamily="34" charset="0"/>
              </a:rPr>
              <a:t>Plan &amp; Track</a:t>
            </a:r>
          </a:p>
        </p:txBody>
      </p:sp>
      <p:sp>
        <p:nvSpPr>
          <p:cNvPr id="22" name="Rectangle 21">
            <a:extLst>
              <a:ext uri="{FF2B5EF4-FFF2-40B4-BE49-F238E27FC236}">
                <a16:creationId xmlns:a16="http://schemas.microsoft.com/office/drawing/2014/main" id="{BFF10A55-2D7B-423F-BADC-6D974C1AB5D3}"/>
              </a:ext>
            </a:extLst>
          </p:cNvPr>
          <p:cNvSpPr/>
          <p:nvPr/>
        </p:nvSpPr>
        <p:spPr>
          <a:xfrm>
            <a:off x="6734706" y="1868671"/>
            <a:ext cx="821187" cy="338554"/>
          </a:xfrm>
          <a:prstGeom prst="rect">
            <a:avLst/>
          </a:prstGeom>
        </p:spPr>
        <p:txBody>
          <a:bodyPr wrap="none">
            <a:spAutoFit/>
          </a:bodyPr>
          <a:lstStyle/>
          <a:p>
            <a:pPr algn="ctr" defTabSz="895497">
              <a:defRPr/>
            </a:pPr>
            <a:r>
              <a:rPr lang="en-US" sz="1600" spc="-29">
                <a:solidFill>
                  <a:srgbClr val="0F78D4"/>
                </a:solidFill>
                <a:latin typeface="Segoe UI Semibold"/>
                <a:cs typeface="Segoe UI" panose="020B0502040204020203" pitchFamily="34" charset="0"/>
              </a:rPr>
              <a:t>Deploy</a:t>
            </a:r>
          </a:p>
        </p:txBody>
      </p:sp>
      <p:sp>
        <p:nvSpPr>
          <p:cNvPr id="23" name="Rectangle 22">
            <a:extLst>
              <a:ext uri="{FF2B5EF4-FFF2-40B4-BE49-F238E27FC236}">
                <a16:creationId xmlns:a16="http://schemas.microsoft.com/office/drawing/2014/main" id="{703B2E18-1759-40F6-9FF2-689CB559C066}"/>
              </a:ext>
            </a:extLst>
          </p:cNvPr>
          <p:cNvSpPr/>
          <p:nvPr/>
        </p:nvSpPr>
        <p:spPr>
          <a:xfrm>
            <a:off x="3518847" y="1868671"/>
            <a:ext cx="924869" cy="338554"/>
          </a:xfrm>
          <a:prstGeom prst="rect">
            <a:avLst/>
          </a:prstGeom>
        </p:spPr>
        <p:txBody>
          <a:bodyPr wrap="none">
            <a:spAutoFit/>
          </a:bodyPr>
          <a:lstStyle/>
          <a:p>
            <a:pPr algn="ctr" defTabSz="895497">
              <a:defRPr/>
            </a:pPr>
            <a:r>
              <a:rPr lang="en-US" sz="1600" spc="-29">
                <a:solidFill>
                  <a:srgbClr val="0F78D4"/>
                </a:solidFill>
                <a:latin typeface="Segoe UI Semibold"/>
                <a:cs typeface="Segoe UI" panose="020B0502040204020203" pitchFamily="34" charset="0"/>
              </a:rPr>
              <a:t>Develop</a:t>
            </a:r>
            <a:endParaRPr lang="en-US" sz="1600">
              <a:solidFill>
                <a:srgbClr val="0F78D4"/>
              </a:solidFill>
              <a:latin typeface="Segoe UI Semibold"/>
              <a:cs typeface="Segoe UI" panose="020B0502040204020203" pitchFamily="34" charset="0"/>
            </a:endParaRPr>
          </a:p>
        </p:txBody>
      </p:sp>
      <p:cxnSp>
        <p:nvCxnSpPr>
          <p:cNvPr id="28" name="Straight Arrow Connector 27">
            <a:extLst>
              <a:ext uri="{FF2B5EF4-FFF2-40B4-BE49-F238E27FC236}">
                <a16:creationId xmlns:a16="http://schemas.microsoft.com/office/drawing/2014/main" id="{6769FD7D-A3B6-44D9-BA88-E32FFC458A27}"/>
              </a:ext>
            </a:extLst>
          </p:cNvPr>
          <p:cNvCxnSpPr>
            <a:cxnSpLocks/>
          </p:cNvCxnSpPr>
          <p:nvPr/>
        </p:nvCxnSpPr>
        <p:spPr>
          <a:xfrm flipV="1">
            <a:off x="2988873" y="2975199"/>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A5E7A09C-AECB-4A9C-81FA-2C2ED5125B31}"/>
              </a:ext>
            </a:extLst>
          </p:cNvPr>
          <p:cNvCxnSpPr>
            <a:cxnSpLocks/>
          </p:cNvCxnSpPr>
          <p:nvPr/>
        </p:nvCxnSpPr>
        <p:spPr>
          <a:xfrm flipV="1">
            <a:off x="4570883" y="2975199"/>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E0380C49-C2F0-422E-8C14-9E939AC72CF8}"/>
              </a:ext>
            </a:extLst>
          </p:cNvPr>
          <p:cNvCxnSpPr>
            <a:cxnSpLocks/>
          </p:cNvCxnSpPr>
          <p:nvPr/>
        </p:nvCxnSpPr>
        <p:spPr>
          <a:xfrm flipV="1">
            <a:off x="6152893" y="2975199"/>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BAB6364D-2450-4A73-8CBD-F36B1A859159}"/>
              </a:ext>
            </a:extLst>
          </p:cNvPr>
          <p:cNvCxnSpPr>
            <a:cxnSpLocks/>
          </p:cNvCxnSpPr>
          <p:nvPr/>
        </p:nvCxnSpPr>
        <p:spPr>
          <a:xfrm flipV="1">
            <a:off x="7734903" y="2975199"/>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9CEAB44-491B-4433-AA34-EE2DE539973C}"/>
              </a:ext>
            </a:extLst>
          </p:cNvPr>
          <p:cNvCxnSpPr>
            <a:cxnSpLocks/>
          </p:cNvCxnSpPr>
          <p:nvPr/>
        </p:nvCxnSpPr>
        <p:spPr>
          <a:xfrm flipV="1">
            <a:off x="9316913" y="2975199"/>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EB62CF4F-E4E1-4A30-8BC2-03DDBF16B010}"/>
              </a:ext>
            </a:extLst>
          </p:cNvPr>
          <p:cNvCxnSpPr>
            <a:cxnSpLocks/>
          </p:cNvCxnSpPr>
          <p:nvPr/>
        </p:nvCxnSpPr>
        <p:spPr>
          <a:xfrm flipH="1" flipV="1">
            <a:off x="1538395" y="2365525"/>
            <a:ext cx="9357698" cy="608962"/>
          </a:xfrm>
          <a:prstGeom prst="bentConnector3">
            <a:avLst>
              <a:gd name="adj1" fmla="val -2443"/>
            </a:avLst>
          </a:prstGeom>
          <a:ln w="19050" cap="rnd">
            <a:solidFill>
              <a:srgbClr val="0F78D4"/>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0E9EC51-FCF7-4126-AE0F-536F10F4B9B2}"/>
              </a:ext>
            </a:extLst>
          </p:cNvPr>
          <p:cNvCxnSpPr>
            <a:cxnSpLocks/>
          </p:cNvCxnSpPr>
          <p:nvPr/>
        </p:nvCxnSpPr>
        <p:spPr>
          <a:xfrm>
            <a:off x="1524234" y="2975199"/>
            <a:ext cx="283566"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AD20B78-9C2D-4909-991E-31480856B909}"/>
              </a:ext>
            </a:extLst>
          </p:cNvPr>
          <p:cNvCxnSpPr>
            <a:cxnSpLocks/>
          </p:cNvCxnSpPr>
          <p:nvPr/>
        </p:nvCxnSpPr>
        <p:spPr>
          <a:xfrm flipV="1">
            <a:off x="1524234" y="2365525"/>
            <a:ext cx="0" cy="609676"/>
          </a:xfrm>
          <a:prstGeom prst="line">
            <a:avLst/>
          </a:prstGeom>
          <a:ln w="19050" cap="rnd">
            <a:solidFill>
              <a:srgbClr val="0F78D4"/>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2F674B18-E715-45CB-B635-70CE30BBB6C6}"/>
              </a:ext>
            </a:extLst>
          </p:cNvPr>
          <p:cNvCxnSpPr>
            <a:cxnSpLocks/>
          </p:cNvCxnSpPr>
          <p:nvPr/>
        </p:nvCxnSpPr>
        <p:spPr>
          <a:xfrm>
            <a:off x="5471717" y="3954405"/>
            <a:ext cx="0" cy="644146"/>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DCEE8B26-9162-4351-A77E-83472AEF584B}"/>
              </a:ext>
            </a:extLst>
          </p:cNvPr>
          <p:cNvCxnSpPr>
            <a:cxnSpLocks/>
          </p:cNvCxnSpPr>
          <p:nvPr/>
        </p:nvCxnSpPr>
        <p:spPr>
          <a:xfrm flipV="1">
            <a:off x="5650510" y="3967468"/>
            <a:ext cx="0" cy="644147"/>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423680E4-25BD-40B9-921F-631F9559B4EB}"/>
              </a:ext>
            </a:extLst>
          </p:cNvPr>
          <p:cNvCxnSpPr>
            <a:cxnSpLocks/>
          </p:cNvCxnSpPr>
          <p:nvPr/>
        </p:nvCxnSpPr>
        <p:spPr>
          <a:xfrm>
            <a:off x="7053727" y="3954405"/>
            <a:ext cx="0" cy="644146"/>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71751D78-AC5D-4B54-BDDA-83FBFB914DCC}"/>
              </a:ext>
            </a:extLst>
          </p:cNvPr>
          <p:cNvCxnSpPr>
            <a:cxnSpLocks/>
          </p:cNvCxnSpPr>
          <p:nvPr/>
        </p:nvCxnSpPr>
        <p:spPr>
          <a:xfrm flipV="1">
            <a:off x="7236874" y="3954405"/>
            <a:ext cx="0" cy="644147"/>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grpSp>
        <p:nvGrpSpPr>
          <p:cNvPr id="1025" name="Group 1024">
            <a:extLst>
              <a:ext uri="{FF2B5EF4-FFF2-40B4-BE49-F238E27FC236}">
                <a16:creationId xmlns:a16="http://schemas.microsoft.com/office/drawing/2014/main" id="{C56DCF4D-7FC2-4003-A3FC-66E339A4D620}"/>
              </a:ext>
            </a:extLst>
          </p:cNvPr>
          <p:cNvGrpSpPr/>
          <p:nvPr/>
        </p:nvGrpSpPr>
        <p:grpSpPr>
          <a:xfrm>
            <a:off x="9832995" y="2743981"/>
            <a:ext cx="952505" cy="1079414"/>
            <a:chOff x="9823681" y="2944273"/>
            <a:chExt cx="952505" cy="1079414"/>
          </a:xfrm>
        </p:grpSpPr>
        <p:grpSp>
          <p:nvGrpSpPr>
            <p:cNvPr id="1034" name="Group 1033">
              <a:extLst>
                <a:ext uri="{FF2B5EF4-FFF2-40B4-BE49-F238E27FC236}">
                  <a16:creationId xmlns:a16="http://schemas.microsoft.com/office/drawing/2014/main" id="{3180DE4E-3B0B-4D9B-B1F6-8329C61C4B33}"/>
                </a:ext>
              </a:extLst>
            </p:cNvPr>
            <p:cNvGrpSpPr>
              <a:grpSpLocks noChangeAspect="1"/>
            </p:cNvGrpSpPr>
            <p:nvPr/>
          </p:nvGrpSpPr>
          <p:grpSpPr>
            <a:xfrm>
              <a:off x="10117053" y="2944273"/>
              <a:ext cx="365760" cy="553986"/>
              <a:chOff x="6046835" y="2790043"/>
              <a:chExt cx="333375" cy="504935"/>
            </a:xfrm>
            <a:solidFill>
              <a:srgbClr val="000000"/>
            </a:solidFill>
          </p:grpSpPr>
          <p:sp>
            <p:nvSpPr>
              <p:cNvPr id="1029" name="Freeform: Shape 1028">
                <a:extLst>
                  <a:ext uri="{FF2B5EF4-FFF2-40B4-BE49-F238E27FC236}">
                    <a16:creationId xmlns:a16="http://schemas.microsoft.com/office/drawing/2014/main" id="{2AF131CB-9C8F-4DA2-A685-6AC29B712E7B}"/>
                  </a:ext>
                </a:extLst>
              </p:cNvPr>
              <p:cNvSpPr/>
              <p:nvPr/>
            </p:nvSpPr>
            <p:spPr>
              <a:xfrm>
                <a:off x="6156720" y="3177820"/>
                <a:ext cx="114300" cy="47625"/>
              </a:xfrm>
              <a:custGeom>
                <a:avLst/>
                <a:gdLst>
                  <a:gd name="connsiteX0" fmla="*/ 7144 w 114300"/>
                  <a:gd name="connsiteY0" fmla="*/ 7144 h 47625"/>
                  <a:gd name="connsiteX1" fmla="*/ 111919 w 114300"/>
                  <a:gd name="connsiteY1" fmla="*/ 7144 h 47625"/>
                  <a:gd name="connsiteX2" fmla="*/ 111919 w 114300"/>
                  <a:gd name="connsiteY2" fmla="*/ 40481 h 47625"/>
                  <a:gd name="connsiteX3" fmla="*/ 7144 w 114300"/>
                  <a:gd name="connsiteY3" fmla="*/ 40481 h 47625"/>
                </a:gdLst>
                <a:ahLst/>
                <a:cxnLst>
                  <a:cxn ang="0">
                    <a:pos x="connsiteX0" y="connsiteY0"/>
                  </a:cxn>
                  <a:cxn ang="0">
                    <a:pos x="connsiteX1" y="connsiteY1"/>
                  </a:cxn>
                  <a:cxn ang="0">
                    <a:pos x="connsiteX2" y="connsiteY2"/>
                  </a:cxn>
                  <a:cxn ang="0">
                    <a:pos x="connsiteX3" y="connsiteY3"/>
                  </a:cxn>
                </a:cxnLst>
                <a:rect l="l" t="t" r="r" b="b"/>
                <a:pathLst>
                  <a:path w="114300" h="47625">
                    <a:moveTo>
                      <a:pt x="7144" y="7144"/>
                    </a:moveTo>
                    <a:lnTo>
                      <a:pt x="111919" y="7144"/>
                    </a:lnTo>
                    <a:lnTo>
                      <a:pt x="111919" y="40481"/>
                    </a:lnTo>
                    <a:lnTo>
                      <a:pt x="7144" y="40481"/>
                    </a:lnTo>
                    <a:close/>
                  </a:path>
                </a:pathLst>
              </a:custGeom>
              <a:solidFill>
                <a:srgbClr val="0F78D4"/>
              </a:solidFill>
              <a:ln w="9525" cap="flat">
                <a:noFill/>
                <a:prstDash val="solid"/>
                <a:miter/>
              </a:ln>
            </p:spPr>
            <p:txBody>
              <a:bodyPr rtlCol="0" anchor="ctr"/>
              <a:lstStyle/>
              <a:p>
                <a:endParaRPr lang="en-US"/>
              </a:p>
            </p:txBody>
          </p:sp>
          <p:sp>
            <p:nvSpPr>
              <p:cNvPr id="1030" name="Freeform: Shape 1029">
                <a:extLst>
                  <a:ext uri="{FF2B5EF4-FFF2-40B4-BE49-F238E27FC236}">
                    <a16:creationId xmlns:a16="http://schemas.microsoft.com/office/drawing/2014/main" id="{CC0B1169-084B-4516-A785-E5D9B964F6C1}"/>
                  </a:ext>
                </a:extLst>
              </p:cNvPr>
              <p:cNvSpPr/>
              <p:nvPr/>
            </p:nvSpPr>
            <p:spPr>
              <a:xfrm>
                <a:off x="6156720" y="3247353"/>
                <a:ext cx="114300" cy="47625"/>
              </a:xfrm>
              <a:custGeom>
                <a:avLst/>
                <a:gdLst>
                  <a:gd name="connsiteX0" fmla="*/ 39529 w 114300"/>
                  <a:gd name="connsiteY0" fmla="*/ 42386 h 47625"/>
                  <a:gd name="connsiteX1" fmla="*/ 78581 w 114300"/>
                  <a:gd name="connsiteY1" fmla="*/ 42386 h 47625"/>
                  <a:gd name="connsiteX2" fmla="*/ 110966 w 114300"/>
                  <a:gd name="connsiteY2" fmla="*/ 7144 h 47625"/>
                  <a:gd name="connsiteX3" fmla="*/ 7144 w 114300"/>
                  <a:gd name="connsiteY3" fmla="*/ 7144 h 47625"/>
                </a:gdLst>
                <a:ahLst/>
                <a:cxnLst>
                  <a:cxn ang="0">
                    <a:pos x="connsiteX0" y="connsiteY0"/>
                  </a:cxn>
                  <a:cxn ang="0">
                    <a:pos x="connsiteX1" y="connsiteY1"/>
                  </a:cxn>
                  <a:cxn ang="0">
                    <a:pos x="connsiteX2" y="connsiteY2"/>
                  </a:cxn>
                  <a:cxn ang="0">
                    <a:pos x="connsiteX3" y="connsiteY3"/>
                  </a:cxn>
                </a:cxnLst>
                <a:rect l="l" t="t" r="r" b="b"/>
                <a:pathLst>
                  <a:path w="114300" h="47625">
                    <a:moveTo>
                      <a:pt x="39529" y="42386"/>
                    </a:moveTo>
                    <a:lnTo>
                      <a:pt x="78581" y="42386"/>
                    </a:lnTo>
                    <a:lnTo>
                      <a:pt x="110966" y="7144"/>
                    </a:lnTo>
                    <a:lnTo>
                      <a:pt x="7144" y="7144"/>
                    </a:lnTo>
                    <a:close/>
                  </a:path>
                </a:pathLst>
              </a:custGeom>
              <a:solidFill>
                <a:srgbClr val="0F78D4"/>
              </a:solidFill>
              <a:ln w="9525" cap="flat">
                <a:noFill/>
                <a:prstDash val="solid"/>
                <a:miter/>
              </a:ln>
            </p:spPr>
            <p:txBody>
              <a:bodyPr rtlCol="0" anchor="ctr"/>
              <a:lstStyle/>
              <a:p>
                <a:endParaRPr lang="en-US"/>
              </a:p>
            </p:txBody>
          </p:sp>
          <p:sp>
            <p:nvSpPr>
              <p:cNvPr id="1031" name="Freeform: Shape 1030">
                <a:extLst>
                  <a:ext uri="{FF2B5EF4-FFF2-40B4-BE49-F238E27FC236}">
                    <a16:creationId xmlns:a16="http://schemas.microsoft.com/office/drawing/2014/main" id="{99C34F33-4738-48E7-AF83-CEB2B92AF79B}"/>
                  </a:ext>
                </a:extLst>
              </p:cNvPr>
              <p:cNvSpPr/>
              <p:nvPr/>
            </p:nvSpPr>
            <p:spPr>
              <a:xfrm>
                <a:off x="6144337" y="2958745"/>
                <a:ext cx="47625" cy="47625"/>
              </a:xfrm>
              <a:custGeom>
                <a:avLst/>
                <a:gdLst>
                  <a:gd name="connsiteX0" fmla="*/ 24289 w 47625"/>
                  <a:gd name="connsiteY0" fmla="*/ 7144 h 47625"/>
                  <a:gd name="connsiteX1" fmla="*/ 7144 w 47625"/>
                  <a:gd name="connsiteY1" fmla="*/ 24289 h 47625"/>
                  <a:gd name="connsiteX2" fmla="*/ 24289 w 47625"/>
                  <a:gd name="connsiteY2" fmla="*/ 41434 h 47625"/>
                  <a:gd name="connsiteX3" fmla="*/ 41434 w 47625"/>
                  <a:gd name="connsiteY3" fmla="*/ 41434 h 47625"/>
                  <a:gd name="connsiteX4" fmla="*/ 41434 w 47625"/>
                  <a:gd name="connsiteY4" fmla="*/ 24289 h 47625"/>
                  <a:gd name="connsiteX5" fmla="*/ 24289 w 47625"/>
                  <a:gd name="connsiteY5" fmla="*/ 71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24289" y="7144"/>
                    </a:moveTo>
                    <a:cubicBezTo>
                      <a:pt x="15716" y="7144"/>
                      <a:pt x="7144" y="14764"/>
                      <a:pt x="7144" y="24289"/>
                    </a:cubicBezTo>
                    <a:cubicBezTo>
                      <a:pt x="7144" y="32861"/>
                      <a:pt x="14764" y="41434"/>
                      <a:pt x="24289" y="41434"/>
                    </a:cubicBezTo>
                    <a:lnTo>
                      <a:pt x="41434" y="41434"/>
                    </a:lnTo>
                    <a:lnTo>
                      <a:pt x="41434" y="24289"/>
                    </a:lnTo>
                    <a:cubicBezTo>
                      <a:pt x="39529" y="14764"/>
                      <a:pt x="32861" y="7144"/>
                      <a:pt x="24289" y="7144"/>
                    </a:cubicBezTo>
                    <a:close/>
                  </a:path>
                </a:pathLst>
              </a:custGeom>
              <a:solidFill>
                <a:srgbClr val="0F78D4"/>
              </a:solidFill>
              <a:ln w="9525" cap="flat">
                <a:noFill/>
                <a:prstDash val="solid"/>
                <a:miter/>
              </a:ln>
            </p:spPr>
            <p:txBody>
              <a:bodyPr rtlCol="0" anchor="ctr"/>
              <a:lstStyle/>
              <a:p>
                <a:endParaRPr lang="en-US"/>
              </a:p>
            </p:txBody>
          </p:sp>
          <p:sp>
            <p:nvSpPr>
              <p:cNvPr id="1032" name="Freeform: Shape 1031">
                <a:extLst>
                  <a:ext uri="{FF2B5EF4-FFF2-40B4-BE49-F238E27FC236}">
                    <a16:creationId xmlns:a16="http://schemas.microsoft.com/office/drawing/2014/main" id="{D24C0CA1-C02C-4E82-8C43-BA5EA9B17E81}"/>
                  </a:ext>
                </a:extLst>
              </p:cNvPr>
              <p:cNvSpPr/>
              <p:nvPr/>
            </p:nvSpPr>
            <p:spPr>
              <a:xfrm>
                <a:off x="6233872" y="2958745"/>
                <a:ext cx="47625" cy="47625"/>
              </a:xfrm>
              <a:custGeom>
                <a:avLst/>
                <a:gdLst>
                  <a:gd name="connsiteX0" fmla="*/ 24289 w 47625"/>
                  <a:gd name="connsiteY0" fmla="*/ 7144 h 47625"/>
                  <a:gd name="connsiteX1" fmla="*/ 7144 w 47625"/>
                  <a:gd name="connsiteY1" fmla="*/ 24289 h 47625"/>
                  <a:gd name="connsiteX2" fmla="*/ 7144 w 47625"/>
                  <a:gd name="connsiteY2" fmla="*/ 41434 h 47625"/>
                  <a:gd name="connsiteX3" fmla="*/ 24289 w 47625"/>
                  <a:gd name="connsiteY3" fmla="*/ 41434 h 47625"/>
                  <a:gd name="connsiteX4" fmla="*/ 41434 w 47625"/>
                  <a:gd name="connsiteY4" fmla="*/ 24289 h 47625"/>
                  <a:gd name="connsiteX5" fmla="*/ 24289 w 47625"/>
                  <a:gd name="connsiteY5" fmla="*/ 71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24289" y="7144"/>
                    </a:moveTo>
                    <a:cubicBezTo>
                      <a:pt x="15716" y="7144"/>
                      <a:pt x="7144" y="14764"/>
                      <a:pt x="7144" y="24289"/>
                    </a:cubicBezTo>
                    <a:lnTo>
                      <a:pt x="7144" y="41434"/>
                    </a:lnTo>
                    <a:lnTo>
                      <a:pt x="24289" y="41434"/>
                    </a:lnTo>
                    <a:cubicBezTo>
                      <a:pt x="32861" y="41434"/>
                      <a:pt x="41434" y="33814"/>
                      <a:pt x="41434" y="24289"/>
                    </a:cubicBezTo>
                    <a:cubicBezTo>
                      <a:pt x="41434" y="15716"/>
                      <a:pt x="34766" y="7144"/>
                      <a:pt x="24289" y="7144"/>
                    </a:cubicBezTo>
                    <a:close/>
                  </a:path>
                </a:pathLst>
              </a:custGeom>
              <a:solidFill>
                <a:srgbClr val="0F78D4"/>
              </a:solidFill>
              <a:ln w="9525" cap="flat">
                <a:noFill/>
                <a:prstDash val="solid"/>
                <a:miter/>
              </a:ln>
            </p:spPr>
            <p:txBody>
              <a:bodyPr rtlCol="0" anchor="ctr"/>
              <a:lstStyle/>
              <a:p>
                <a:endParaRPr lang="en-US"/>
              </a:p>
            </p:txBody>
          </p:sp>
          <p:sp>
            <p:nvSpPr>
              <p:cNvPr id="1033" name="Freeform: Shape 1032">
                <a:extLst>
                  <a:ext uri="{FF2B5EF4-FFF2-40B4-BE49-F238E27FC236}">
                    <a16:creationId xmlns:a16="http://schemas.microsoft.com/office/drawing/2014/main" id="{87EEC9CB-F578-4353-AF8A-8F0A78469203}"/>
                  </a:ext>
                </a:extLst>
              </p:cNvPr>
              <p:cNvSpPr/>
              <p:nvPr/>
            </p:nvSpPr>
            <p:spPr>
              <a:xfrm>
                <a:off x="6046835" y="2790043"/>
                <a:ext cx="333375" cy="361950"/>
              </a:xfrm>
              <a:custGeom>
                <a:avLst/>
                <a:gdLst>
                  <a:gd name="connsiteX0" fmla="*/ 328483 w 333375"/>
                  <a:gd name="connsiteY0" fmla="*/ 151081 h 361950"/>
                  <a:gd name="connsiteX1" fmla="*/ 328483 w 333375"/>
                  <a:gd name="connsiteY1" fmla="*/ 148224 h 361950"/>
                  <a:gd name="connsiteX2" fmla="*/ 183703 w 333375"/>
                  <a:gd name="connsiteY2" fmla="*/ 8206 h 361950"/>
                  <a:gd name="connsiteX3" fmla="*/ 136078 w 333375"/>
                  <a:gd name="connsiteY3" fmla="*/ 9159 h 361950"/>
                  <a:gd name="connsiteX4" fmla="*/ 7491 w 333375"/>
                  <a:gd name="connsiteY4" fmla="*/ 147271 h 361950"/>
                  <a:gd name="connsiteX5" fmla="*/ 56068 w 333375"/>
                  <a:gd name="connsiteY5" fmla="*/ 251094 h 361950"/>
                  <a:gd name="connsiteX6" fmla="*/ 112266 w 333375"/>
                  <a:gd name="connsiteY6" fmla="*/ 352059 h 361950"/>
                  <a:gd name="connsiteX7" fmla="*/ 115123 w 333375"/>
                  <a:gd name="connsiteY7" fmla="*/ 357774 h 361950"/>
                  <a:gd name="connsiteX8" fmla="*/ 219898 w 333375"/>
                  <a:gd name="connsiteY8" fmla="*/ 357774 h 361950"/>
                  <a:gd name="connsiteX9" fmla="*/ 222756 w 333375"/>
                  <a:gd name="connsiteY9" fmla="*/ 352059 h 361950"/>
                  <a:gd name="connsiteX10" fmla="*/ 278953 w 333375"/>
                  <a:gd name="connsiteY10" fmla="*/ 251094 h 361950"/>
                  <a:gd name="connsiteX11" fmla="*/ 328483 w 333375"/>
                  <a:gd name="connsiteY11" fmla="*/ 151081 h 361950"/>
                  <a:gd name="connsiteX12" fmla="*/ 212278 w 333375"/>
                  <a:gd name="connsiteY12" fmla="*/ 229186 h 361950"/>
                  <a:gd name="connsiteX13" fmla="*/ 195133 w 333375"/>
                  <a:gd name="connsiteY13" fmla="*/ 229186 h 361950"/>
                  <a:gd name="connsiteX14" fmla="*/ 195133 w 333375"/>
                  <a:gd name="connsiteY14" fmla="*/ 353964 h 361950"/>
                  <a:gd name="connsiteX15" fmla="*/ 176083 w 333375"/>
                  <a:gd name="connsiteY15" fmla="*/ 353964 h 361950"/>
                  <a:gd name="connsiteX16" fmla="*/ 176083 w 333375"/>
                  <a:gd name="connsiteY16" fmla="*/ 229186 h 361950"/>
                  <a:gd name="connsiteX17" fmla="*/ 157986 w 333375"/>
                  <a:gd name="connsiteY17" fmla="*/ 229186 h 361950"/>
                  <a:gd name="connsiteX18" fmla="*/ 157986 w 333375"/>
                  <a:gd name="connsiteY18" fmla="*/ 353011 h 361950"/>
                  <a:gd name="connsiteX19" fmla="*/ 138936 w 333375"/>
                  <a:gd name="connsiteY19" fmla="*/ 353011 h 361950"/>
                  <a:gd name="connsiteX20" fmla="*/ 138936 w 333375"/>
                  <a:gd name="connsiteY20" fmla="*/ 229186 h 361950"/>
                  <a:gd name="connsiteX21" fmla="*/ 121791 w 333375"/>
                  <a:gd name="connsiteY21" fmla="*/ 229186 h 361950"/>
                  <a:gd name="connsiteX22" fmla="*/ 85596 w 333375"/>
                  <a:gd name="connsiteY22" fmla="*/ 192991 h 361950"/>
                  <a:gd name="connsiteX23" fmla="*/ 121791 w 333375"/>
                  <a:gd name="connsiteY23" fmla="*/ 156796 h 361950"/>
                  <a:gd name="connsiteX24" fmla="*/ 157986 w 333375"/>
                  <a:gd name="connsiteY24" fmla="*/ 192991 h 361950"/>
                  <a:gd name="connsiteX25" fmla="*/ 157986 w 333375"/>
                  <a:gd name="connsiteY25" fmla="*/ 210136 h 361950"/>
                  <a:gd name="connsiteX26" fmla="*/ 175131 w 333375"/>
                  <a:gd name="connsiteY26" fmla="*/ 210136 h 361950"/>
                  <a:gd name="connsiteX27" fmla="*/ 175131 w 333375"/>
                  <a:gd name="connsiteY27" fmla="*/ 192991 h 361950"/>
                  <a:gd name="connsiteX28" fmla="*/ 211326 w 333375"/>
                  <a:gd name="connsiteY28" fmla="*/ 156796 h 361950"/>
                  <a:gd name="connsiteX29" fmla="*/ 247521 w 333375"/>
                  <a:gd name="connsiteY29" fmla="*/ 192991 h 361950"/>
                  <a:gd name="connsiteX30" fmla="*/ 212278 w 333375"/>
                  <a:gd name="connsiteY30" fmla="*/ 229186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33375" h="361950">
                    <a:moveTo>
                      <a:pt x="328483" y="151081"/>
                    </a:moveTo>
                    <a:lnTo>
                      <a:pt x="328483" y="148224"/>
                    </a:lnTo>
                    <a:cubicBezTo>
                      <a:pt x="328483" y="72024"/>
                      <a:pt x="263713" y="10111"/>
                      <a:pt x="183703" y="8206"/>
                    </a:cubicBezTo>
                    <a:cubicBezTo>
                      <a:pt x="181798" y="5349"/>
                      <a:pt x="136078" y="9159"/>
                      <a:pt x="136078" y="9159"/>
                    </a:cubicBezTo>
                    <a:cubicBezTo>
                      <a:pt x="63688" y="17731"/>
                      <a:pt x="7491" y="77739"/>
                      <a:pt x="7491" y="147271"/>
                    </a:cubicBezTo>
                    <a:cubicBezTo>
                      <a:pt x="7491" y="149176"/>
                      <a:pt x="-129" y="204421"/>
                      <a:pt x="56068" y="251094"/>
                    </a:cubicBezTo>
                    <a:cubicBezTo>
                      <a:pt x="81786" y="273954"/>
                      <a:pt x="108456" y="334914"/>
                      <a:pt x="112266" y="352059"/>
                    </a:cubicBezTo>
                    <a:lnTo>
                      <a:pt x="115123" y="357774"/>
                    </a:lnTo>
                    <a:lnTo>
                      <a:pt x="219898" y="357774"/>
                    </a:lnTo>
                    <a:lnTo>
                      <a:pt x="222756" y="352059"/>
                    </a:lnTo>
                    <a:cubicBezTo>
                      <a:pt x="226566" y="333961"/>
                      <a:pt x="254188" y="273001"/>
                      <a:pt x="278953" y="251094"/>
                    </a:cubicBezTo>
                    <a:cubicBezTo>
                      <a:pt x="335151" y="205374"/>
                      <a:pt x="328483" y="152986"/>
                      <a:pt x="328483" y="151081"/>
                    </a:cubicBezTo>
                    <a:close/>
                    <a:moveTo>
                      <a:pt x="212278" y="229186"/>
                    </a:moveTo>
                    <a:lnTo>
                      <a:pt x="195133" y="229186"/>
                    </a:lnTo>
                    <a:lnTo>
                      <a:pt x="195133" y="353964"/>
                    </a:lnTo>
                    <a:lnTo>
                      <a:pt x="176083" y="353964"/>
                    </a:lnTo>
                    <a:lnTo>
                      <a:pt x="176083" y="229186"/>
                    </a:lnTo>
                    <a:lnTo>
                      <a:pt x="157986" y="229186"/>
                    </a:lnTo>
                    <a:lnTo>
                      <a:pt x="157986" y="353011"/>
                    </a:lnTo>
                    <a:lnTo>
                      <a:pt x="138936" y="353011"/>
                    </a:lnTo>
                    <a:lnTo>
                      <a:pt x="138936" y="229186"/>
                    </a:lnTo>
                    <a:lnTo>
                      <a:pt x="121791" y="229186"/>
                    </a:lnTo>
                    <a:cubicBezTo>
                      <a:pt x="102741" y="229186"/>
                      <a:pt x="85596" y="212041"/>
                      <a:pt x="85596" y="192991"/>
                    </a:cubicBezTo>
                    <a:cubicBezTo>
                      <a:pt x="85596" y="173941"/>
                      <a:pt x="101788" y="156796"/>
                      <a:pt x="121791" y="156796"/>
                    </a:cubicBezTo>
                    <a:cubicBezTo>
                      <a:pt x="141793" y="156796"/>
                      <a:pt x="157986" y="173941"/>
                      <a:pt x="157986" y="192991"/>
                    </a:cubicBezTo>
                    <a:lnTo>
                      <a:pt x="157986" y="210136"/>
                    </a:lnTo>
                    <a:lnTo>
                      <a:pt x="175131" y="210136"/>
                    </a:lnTo>
                    <a:lnTo>
                      <a:pt x="175131" y="192991"/>
                    </a:lnTo>
                    <a:cubicBezTo>
                      <a:pt x="175131" y="173941"/>
                      <a:pt x="192276" y="156796"/>
                      <a:pt x="211326" y="156796"/>
                    </a:cubicBezTo>
                    <a:cubicBezTo>
                      <a:pt x="230376" y="156796"/>
                      <a:pt x="247521" y="173941"/>
                      <a:pt x="247521" y="192991"/>
                    </a:cubicBezTo>
                    <a:cubicBezTo>
                      <a:pt x="248473" y="212994"/>
                      <a:pt x="231328" y="229186"/>
                      <a:pt x="212278" y="229186"/>
                    </a:cubicBezTo>
                    <a:close/>
                  </a:path>
                </a:pathLst>
              </a:custGeom>
              <a:solidFill>
                <a:srgbClr val="0F78D4"/>
              </a:solidFill>
              <a:ln w="9525" cap="flat">
                <a:noFill/>
                <a:prstDash val="solid"/>
                <a:miter/>
              </a:ln>
            </p:spPr>
            <p:txBody>
              <a:bodyPr rtlCol="0" anchor="ctr"/>
              <a:lstStyle/>
              <a:p>
                <a:endParaRPr lang="en-US"/>
              </a:p>
            </p:txBody>
          </p:sp>
        </p:grpSp>
        <p:sp>
          <p:nvSpPr>
            <p:cNvPr id="68" name="Rectangle 67">
              <a:extLst>
                <a:ext uri="{FF2B5EF4-FFF2-40B4-BE49-F238E27FC236}">
                  <a16:creationId xmlns:a16="http://schemas.microsoft.com/office/drawing/2014/main" id="{9EB56572-C663-435A-B61F-C9291D25F8E3}"/>
                </a:ext>
              </a:extLst>
            </p:cNvPr>
            <p:cNvSpPr/>
            <p:nvPr/>
          </p:nvSpPr>
          <p:spPr>
            <a:xfrm>
              <a:off x="9823681" y="3562022"/>
              <a:ext cx="952505" cy="461665"/>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Application</a:t>
              </a:r>
            </a:p>
            <a:p>
              <a:pPr algn="ctr" defTabSz="895497">
                <a:defRPr/>
              </a:pPr>
              <a:r>
                <a:rPr lang="en-US" sz="1200">
                  <a:solidFill>
                    <a:srgbClr val="000000"/>
                  </a:solidFill>
                  <a:latin typeface="Segoe UI" panose="020B0502040204020203" pitchFamily="34" charset="0"/>
                  <a:cs typeface="Segoe UI" panose="020B0502040204020203" pitchFamily="34" charset="0"/>
                </a:rPr>
                <a:t>Insights</a:t>
              </a:r>
            </a:p>
          </p:txBody>
        </p:sp>
      </p:grpSp>
      <p:cxnSp>
        <p:nvCxnSpPr>
          <p:cNvPr id="36" name="Straight Arrow Connector 35">
            <a:extLst>
              <a:ext uri="{FF2B5EF4-FFF2-40B4-BE49-F238E27FC236}">
                <a16:creationId xmlns:a16="http://schemas.microsoft.com/office/drawing/2014/main" id="{67A02B83-B659-4C66-99A3-DDE3A86A6CB0}"/>
              </a:ext>
            </a:extLst>
          </p:cNvPr>
          <p:cNvCxnSpPr>
            <a:cxnSpLocks/>
          </p:cNvCxnSpPr>
          <p:nvPr/>
        </p:nvCxnSpPr>
        <p:spPr>
          <a:xfrm>
            <a:off x="2988873" y="5206917"/>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78012FC2-F4A0-42BD-BD57-DD8EB40DA904}"/>
              </a:ext>
            </a:extLst>
          </p:cNvPr>
          <p:cNvCxnSpPr>
            <a:cxnSpLocks/>
          </p:cNvCxnSpPr>
          <p:nvPr/>
        </p:nvCxnSpPr>
        <p:spPr>
          <a:xfrm>
            <a:off x="4570883" y="5206917"/>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73F5C27A-D7EC-40A6-A6F3-F983CD6F7984}"/>
              </a:ext>
            </a:extLst>
          </p:cNvPr>
          <p:cNvCxnSpPr>
            <a:cxnSpLocks/>
          </p:cNvCxnSpPr>
          <p:nvPr/>
        </p:nvCxnSpPr>
        <p:spPr>
          <a:xfrm>
            <a:off x="6152893" y="5206917"/>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C267D7C3-2EF9-4C8A-8C8C-049ADD1E40BE}"/>
              </a:ext>
            </a:extLst>
          </p:cNvPr>
          <p:cNvCxnSpPr>
            <a:cxnSpLocks/>
          </p:cNvCxnSpPr>
          <p:nvPr/>
        </p:nvCxnSpPr>
        <p:spPr>
          <a:xfrm>
            <a:off x="7734903" y="5206917"/>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CAEBEB07-286F-46A9-85BC-E8DCA07287D2}"/>
              </a:ext>
            </a:extLst>
          </p:cNvPr>
          <p:cNvCxnSpPr>
            <a:cxnSpLocks/>
          </p:cNvCxnSpPr>
          <p:nvPr/>
        </p:nvCxnSpPr>
        <p:spPr>
          <a:xfrm>
            <a:off x="9316913" y="5206917"/>
            <a:ext cx="402804"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81951BCF-DDC1-4F00-9A42-63CFEBA50B3B}"/>
              </a:ext>
            </a:extLst>
          </p:cNvPr>
          <p:cNvCxnSpPr>
            <a:cxnSpLocks/>
          </p:cNvCxnSpPr>
          <p:nvPr/>
        </p:nvCxnSpPr>
        <p:spPr>
          <a:xfrm flipH="1">
            <a:off x="1538395" y="5206997"/>
            <a:ext cx="9359718" cy="796421"/>
          </a:xfrm>
          <a:prstGeom prst="bentConnector3">
            <a:avLst>
              <a:gd name="adj1" fmla="val -2442"/>
            </a:avLst>
          </a:prstGeom>
          <a:ln w="19050" cap="rnd">
            <a:solidFill>
              <a:srgbClr val="0F78D4"/>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BCBFEE61-BDAC-4913-8F1B-BF33AE7D2BEF}"/>
              </a:ext>
            </a:extLst>
          </p:cNvPr>
          <p:cNvCxnSpPr>
            <a:cxnSpLocks/>
          </p:cNvCxnSpPr>
          <p:nvPr/>
        </p:nvCxnSpPr>
        <p:spPr>
          <a:xfrm>
            <a:off x="1535193" y="5206917"/>
            <a:ext cx="272608" cy="0"/>
          </a:xfrm>
          <a:prstGeom prst="straightConnector1">
            <a:avLst/>
          </a:prstGeom>
          <a:ln w="19050" cap="rnd">
            <a:solidFill>
              <a:srgbClr val="0F78D4"/>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CA18A07-1502-4E9E-8566-9A9B7BB45379}"/>
              </a:ext>
            </a:extLst>
          </p:cNvPr>
          <p:cNvCxnSpPr>
            <a:cxnSpLocks/>
          </p:cNvCxnSpPr>
          <p:nvPr/>
        </p:nvCxnSpPr>
        <p:spPr>
          <a:xfrm>
            <a:off x="1524234" y="5206918"/>
            <a:ext cx="0" cy="796501"/>
          </a:xfrm>
          <a:prstGeom prst="line">
            <a:avLst/>
          </a:prstGeom>
          <a:ln w="19050" cap="rnd">
            <a:solidFill>
              <a:srgbClr val="0F78D4"/>
            </a:solidFill>
            <a:headEnd type="none"/>
            <a:tailEnd type="none" w="lg" len="sm"/>
          </a:ln>
        </p:spPr>
        <p:style>
          <a:lnRef idx="1">
            <a:schemeClr val="accent1"/>
          </a:lnRef>
          <a:fillRef idx="0">
            <a:schemeClr val="accent1"/>
          </a:fillRef>
          <a:effectRef idx="0">
            <a:schemeClr val="accent1"/>
          </a:effectRef>
          <a:fontRef idx="minor">
            <a:schemeClr val="tx1"/>
          </a:fontRef>
        </p:style>
      </p:cxnSp>
      <p:pic>
        <p:nvPicPr>
          <p:cNvPr id="1035" name="Picture 4" descr="Image result for trello logo png black">
            <a:extLst>
              <a:ext uri="{FF2B5EF4-FFF2-40B4-BE49-F238E27FC236}">
                <a16:creationId xmlns:a16="http://schemas.microsoft.com/office/drawing/2014/main" id="{D16E10FD-CD93-4941-A0E5-34CEAFB2C6A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25682" y="4839209"/>
            <a:ext cx="547176" cy="547176"/>
          </a:xfrm>
          <a:prstGeom prst="rect">
            <a:avLst/>
          </a:prstGeom>
          <a:noFill/>
          <a:extLst>
            <a:ext uri="{909E8E84-426E-40DD-AFC4-6F175D3DCCD1}">
              <a14:hiddenFill xmlns:a14="http://schemas.microsoft.com/office/drawing/2010/main">
                <a:solidFill>
                  <a:srgbClr val="FFFFFF"/>
                </a:solidFill>
              </a14:hiddenFill>
            </a:ext>
          </a:extLst>
        </p:spPr>
      </p:pic>
      <p:sp>
        <p:nvSpPr>
          <p:cNvPr id="58" name="Rectangle 57">
            <a:extLst>
              <a:ext uri="{FF2B5EF4-FFF2-40B4-BE49-F238E27FC236}">
                <a16:creationId xmlns:a16="http://schemas.microsoft.com/office/drawing/2014/main" id="{5D54AFFA-1BD9-41F8-AFCA-EDC0B6FD2FA1}"/>
              </a:ext>
            </a:extLst>
          </p:cNvPr>
          <p:cNvSpPr/>
          <p:nvPr/>
        </p:nvSpPr>
        <p:spPr>
          <a:xfrm>
            <a:off x="2126310" y="5434666"/>
            <a:ext cx="545920" cy="276999"/>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Trello</a:t>
            </a:r>
          </a:p>
        </p:txBody>
      </p:sp>
      <p:grpSp>
        <p:nvGrpSpPr>
          <p:cNvPr id="120" name="Group 119">
            <a:extLst>
              <a:ext uri="{FF2B5EF4-FFF2-40B4-BE49-F238E27FC236}">
                <a16:creationId xmlns:a16="http://schemas.microsoft.com/office/drawing/2014/main" id="{4EEDCCE2-17AF-4F2D-879D-D0F114150799}"/>
              </a:ext>
            </a:extLst>
          </p:cNvPr>
          <p:cNvGrpSpPr/>
          <p:nvPr/>
        </p:nvGrpSpPr>
        <p:grpSpPr>
          <a:xfrm>
            <a:off x="5227300" y="4799226"/>
            <a:ext cx="671980" cy="912439"/>
            <a:chOff x="5227300" y="4999518"/>
            <a:chExt cx="671980" cy="912439"/>
          </a:xfrm>
        </p:grpSpPr>
        <p:sp>
          <p:nvSpPr>
            <p:cNvPr id="123" name="Freeform: Shape 122">
              <a:extLst>
                <a:ext uri="{FF2B5EF4-FFF2-40B4-BE49-F238E27FC236}">
                  <a16:creationId xmlns:a16="http://schemas.microsoft.com/office/drawing/2014/main" id="{5A6D7FBD-3C7B-4694-8064-2F849C34CD3F}"/>
                </a:ext>
              </a:extLst>
            </p:cNvPr>
            <p:cNvSpPr>
              <a:spLocks noChangeAspect="1"/>
            </p:cNvSpPr>
            <p:nvPr/>
          </p:nvSpPr>
          <p:spPr>
            <a:xfrm>
              <a:off x="5334690" y="4999518"/>
              <a:ext cx="457200" cy="627143"/>
            </a:xfrm>
            <a:custGeom>
              <a:avLst/>
              <a:gdLst>
                <a:gd name="connsiteX0" fmla="*/ 1355407 w 1899285"/>
                <a:gd name="connsiteY0" fmla="*/ 2215463 h 2605256"/>
                <a:gd name="connsiteX1" fmla="*/ 1296352 w 1899285"/>
                <a:gd name="connsiteY1" fmla="*/ 2224036 h 2605256"/>
                <a:gd name="connsiteX2" fmla="*/ 1303972 w 1899285"/>
                <a:gd name="connsiteY2" fmla="*/ 2425013 h 2605256"/>
                <a:gd name="connsiteX3" fmla="*/ 1383030 w 1899285"/>
                <a:gd name="connsiteY3" fmla="*/ 2407868 h 2605256"/>
                <a:gd name="connsiteX4" fmla="*/ 1355407 w 1899285"/>
                <a:gd name="connsiteY4" fmla="*/ 2215463 h 2605256"/>
                <a:gd name="connsiteX5" fmla="*/ 1664018 w 1899285"/>
                <a:gd name="connsiteY5" fmla="*/ 1999365 h 2605256"/>
                <a:gd name="connsiteX6" fmla="*/ 1746885 w 1899285"/>
                <a:gd name="connsiteY6" fmla="*/ 2017343 h 2605256"/>
                <a:gd name="connsiteX7" fmla="*/ 1584008 w 1899285"/>
                <a:gd name="connsiteY7" fmla="*/ 2013533 h 2605256"/>
                <a:gd name="connsiteX8" fmla="*/ 1664018 w 1899285"/>
                <a:gd name="connsiteY8" fmla="*/ 1999365 h 2605256"/>
                <a:gd name="connsiteX9" fmla="*/ 1652825 w 1899285"/>
                <a:gd name="connsiteY9" fmla="*/ 1933880 h 2605256"/>
                <a:gd name="connsiteX10" fmla="*/ 1731645 w 1899285"/>
                <a:gd name="connsiteY10" fmla="*/ 1946857 h 2605256"/>
                <a:gd name="connsiteX11" fmla="*/ 1586865 w 1899285"/>
                <a:gd name="connsiteY11" fmla="*/ 1954478 h 2605256"/>
                <a:gd name="connsiteX12" fmla="*/ 1652825 w 1899285"/>
                <a:gd name="connsiteY12" fmla="*/ 1933880 h 2605256"/>
                <a:gd name="connsiteX13" fmla="*/ 1353502 w 1899285"/>
                <a:gd name="connsiteY13" fmla="*/ 1883041 h 2605256"/>
                <a:gd name="connsiteX14" fmla="*/ 1279207 w 1899285"/>
                <a:gd name="connsiteY14" fmla="*/ 1891613 h 2605256"/>
                <a:gd name="connsiteX15" fmla="*/ 1290637 w 1899285"/>
                <a:gd name="connsiteY15" fmla="*/ 2176411 h 2605256"/>
                <a:gd name="connsiteX16" fmla="*/ 1385887 w 1899285"/>
                <a:gd name="connsiteY16" fmla="*/ 2159266 h 2605256"/>
                <a:gd name="connsiteX17" fmla="*/ 1353502 w 1899285"/>
                <a:gd name="connsiteY17" fmla="*/ 1883041 h 2605256"/>
                <a:gd name="connsiteX18" fmla="*/ 1119083 w 1899285"/>
                <a:gd name="connsiteY18" fmla="*/ 1876790 h 2605256"/>
                <a:gd name="connsiteX19" fmla="*/ 726757 w 1899285"/>
                <a:gd name="connsiteY19" fmla="*/ 1911616 h 2605256"/>
                <a:gd name="connsiteX20" fmla="*/ 849630 w 1899285"/>
                <a:gd name="connsiteY20" fmla="*/ 2515501 h 2605256"/>
                <a:gd name="connsiteX21" fmla="*/ 1288732 w 1899285"/>
                <a:gd name="connsiteY21" fmla="*/ 2523121 h 2605256"/>
                <a:gd name="connsiteX22" fmla="*/ 1262062 w 1899285"/>
                <a:gd name="connsiteY22" fmla="*/ 2159266 h 2605256"/>
                <a:gd name="connsiteX23" fmla="*/ 1243012 w 1899285"/>
                <a:gd name="connsiteY23" fmla="*/ 1890661 h 2605256"/>
                <a:gd name="connsiteX24" fmla="*/ 1119083 w 1899285"/>
                <a:gd name="connsiteY24" fmla="*/ 1876790 h 2605256"/>
                <a:gd name="connsiteX25" fmla="*/ 1437441 w 1899285"/>
                <a:gd name="connsiteY25" fmla="*/ 1874944 h 2605256"/>
                <a:gd name="connsiteX26" fmla="*/ 1410652 w 1899285"/>
                <a:gd name="connsiteY26" fmla="*/ 1876373 h 2605256"/>
                <a:gd name="connsiteX27" fmla="*/ 1443990 w 1899285"/>
                <a:gd name="connsiteY27" fmla="*/ 2121166 h 2605256"/>
                <a:gd name="connsiteX28" fmla="*/ 1504950 w 1899285"/>
                <a:gd name="connsiteY28" fmla="*/ 2105926 h 2605256"/>
                <a:gd name="connsiteX29" fmla="*/ 1464945 w 1899285"/>
                <a:gd name="connsiteY29" fmla="*/ 1876373 h 2605256"/>
                <a:gd name="connsiteX30" fmla="*/ 1437441 w 1899285"/>
                <a:gd name="connsiteY30" fmla="*/ 1874944 h 2605256"/>
                <a:gd name="connsiteX31" fmla="*/ 1706880 w 1899285"/>
                <a:gd name="connsiteY31" fmla="*/ 1864943 h 2605256"/>
                <a:gd name="connsiteX32" fmla="*/ 1557338 w 1899285"/>
                <a:gd name="connsiteY32" fmla="*/ 1923045 h 2605256"/>
                <a:gd name="connsiteX33" fmla="*/ 1706880 w 1899285"/>
                <a:gd name="connsiteY33" fmla="*/ 1864943 h 2605256"/>
                <a:gd name="connsiteX34" fmla="*/ 1711374 w 1899285"/>
                <a:gd name="connsiteY34" fmla="*/ 1786749 h 2605256"/>
                <a:gd name="connsiteX35" fmla="*/ 1686877 w 1899285"/>
                <a:gd name="connsiteY35" fmla="*/ 1793506 h 2605256"/>
                <a:gd name="connsiteX36" fmla="*/ 1510665 w 1899285"/>
                <a:gd name="connsiteY36" fmla="*/ 1874468 h 2605256"/>
                <a:gd name="connsiteX37" fmla="*/ 1542097 w 1899285"/>
                <a:gd name="connsiteY37" fmla="*/ 2098306 h 2605256"/>
                <a:gd name="connsiteX38" fmla="*/ 1735455 w 1899285"/>
                <a:gd name="connsiteY38" fmla="*/ 2104021 h 2605256"/>
                <a:gd name="connsiteX39" fmla="*/ 1619250 w 1899285"/>
                <a:gd name="connsiteY39" fmla="*/ 2133548 h 2605256"/>
                <a:gd name="connsiteX40" fmla="*/ 1744980 w 1899285"/>
                <a:gd name="connsiteY40" fmla="*/ 2133548 h 2605256"/>
                <a:gd name="connsiteX41" fmla="*/ 1819275 w 1899285"/>
                <a:gd name="connsiteY41" fmla="*/ 1985911 h 2605256"/>
                <a:gd name="connsiteX42" fmla="*/ 1771650 w 1899285"/>
                <a:gd name="connsiteY42" fmla="*/ 1823986 h 2605256"/>
                <a:gd name="connsiteX43" fmla="*/ 1711374 w 1899285"/>
                <a:gd name="connsiteY43" fmla="*/ 1786749 h 2605256"/>
                <a:gd name="connsiteX44" fmla="*/ 1262063 w 1899285"/>
                <a:gd name="connsiteY44" fmla="*/ 1634438 h 2605256"/>
                <a:gd name="connsiteX45" fmla="*/ 1279208 w 1899285"/>
                <a:gd name="connsiteY45" fmla="*/ 1655393 h 2605256"/>
                <a:gd name="connsiteX46" fmla="*/ 1262063 w 1899285"/>
                <a:gd name="connsiteY46" fmla="*/ 1676348 h 2605256"/>
                <a:gd name="connsiteX47" fmla="*/ 1244918 w 1899285"/>
                <a:gd name="connsiteY47" fmla="*/ 1655393 h 2605256"/>
                <a:gd name="connsiteX48" fmla="*/ 1262063 w 1899285"/>
                <a:gd name="connsiteY48" fmla="*/ 1634438 h 2605256"/>
                <a:gd name="connsiteX49" fmla="*/ 1109662 w 1899285"/>
                <a:gd name="connsiteY49" fmla="*/ 1547761 h 2605256"/>
                <a:gd name="connsiteX50" fmla="*/ 978217 w 1899285"/>
                <a:gd name="connsiteY50" fmla="*/ 1686826 h 2605256"/>
                <a:gd name="connsiteX51" fmla="*/ 1239202 w 1899285"/>
                <a:gd name="connsiteY51" fmla="*/ 1803031 h 2605256"/>
                <a:gd name="connsiteX52" fmla="*/ 1109662 w 1899285"/>
                <a:gd name="connsiteY52" fmla="*/ 1547761 h 2605256"/>
                <a:gd name="connsiteX53" fmla="*/ 1244918 w 1899285"/>
                <a:gd name="connsiteY53" fmla="*/ 1536331 h 2605256"/>
                <a:gd name="connsiteX54" fmla="*/ 1262063 w 1899285"/>
                <a:gd name="connsiteY54" fmla="*/ 1557286 h 2605256"/>
                <a:gd name="connsiteX55" fmla="*/ 1244918 w 1899285"/>
                <a:gd name="connsiteY55" fmla="*/ 1578241 h 2605256"/>
                <a:gd name="connsiteX56" fmla="*/ 1227773 w 1899285"/>
                <a:gd name="connsiteY56" fmla="*/ 1557286 h 2605256"/>
                <a:gd name="connsiteX57" fmla="*/ 1244918 w 1899285"/>
                <a:gd name="connsiteY57" fmla="*/ 1536331 h 2605256"/>
                <a:gd name="connsiteX58" fmla="*/ 1369695 w 1899285"/>
                <a:gd name="connsiteY58" fmla="*/ 1516254 h 2605256"/>
                <a:gd name="connsiteX59" fmla="*/ 1333500 w 1899285"/>
                <a:gd name="connsiteY59" fmla="*/ 1524901 h 2605256"/>
                <a:gd name="connsiteX60" fmla="*/ 1295400 w 1899285"/>
                <a:gd name="connsiteY60" fmla="*/ 1803031 h 2605256"/>
                <a:gd name="connsiteX61" fmla="*/ 1446847 w 1899285"/>
                <a:gd name="connsiteY61" fmla="*/ 1563001 h 2605256"/>
                <a:gd name="connsiteX62" fmla="*/ 1369695 w 1899285"/>
                <a:gd name="connsiteY62" fmla="*/ 1516254 h 2605256"/>
                <a:gd name="connsiteX63" fmla="*/ 1226820 w 1899285"/>
                <a:gd name="connsiteY63" fmla="*/ 1485848 h 2605256"/>
                <a:gd name="connsiteX64" fmla="*/ 1159192 w 1899285"/>
                <a:gd name="connsiteY64" fmla="*/ 1499183 h 2605256"/>
                <a:gd name="connsiteX65" fmla="*/ 1140142 w 1899285"/>
                <a:gd name="connsiteY65" fmla="*/ 1521091 h 2605256"/>
                <a:gd name="connsiteX66" fmla="*/ 1278255 w 1899285"/>
                <a:gd name="connsiteY66" fmla="*/ 1789696 h 2605256"/>
                <a:gd name="connsiteX67" fmla="*/ 1306830 w 1899285"/>
                <a:gd name="connsiteY67" fmla="*/ 1520138 h 2605256"/>
                <a:gd name="connsiteX68" fmla="*/ 1226820 w 1899285"/>
                <a:gd name="connsiteY68" fmla="*/ 1485848 h 2605256"/>
                <a:gd name="connsiteX69" fmla="*/ 1185423 w 1899285"/>
                <a:gd name="connsiteY69" fmla="*/ 1384429 h 2605256"/>
                <a:gd name="connsiteX70" fmla="*/ 1159192 w 1899285"/>
                <a:gd name="connsiteY70" fmla="*/ 1395361 h 2605256"/>
                <a:gd name="connsiteX71" fmla="*/ 1167765 w 1899285"/>
                <a:gd name="connsiteY71" fmla="*/ 1459178 h 2605256"/>
                <a:gd name="connsiteX72" fmla="*/ 1185423 w 1899285"/>
                <a:gd name="connsiteY72" fmla="*/ 1384429 h 2605256"/>
                <a:gd name="connsiteX73" fmla="*/ 926782 w 1899285"/>
                <a:gd name="connsiteY73" fmla="*/ 1315351 h 2605256"/>
                <a:gd name="connsiteX74" fmla="*/ 876300 w 1899285"/>
                <a:gd name="connsiteY74" fmla="*/ 1448701 h 2605256"/>
                <a:gd name="connsiteX75" fmla="*/ 909637 w 1899285"/>
                <a:gd name="connsiteY75" fmla="*/ 1564906 h 2605256"/>
                <a:gd name="connsiteX76" fmla="*/ 926782 w 1899285"/>
                <a:gd name="connsiteY76" fmla="*/ 1594433 h 2605256"/>
                <a:gd name="connsiteX77" fmla="*/ 1031557 w 1899285"/>
                <a:gd name="connsiteY77" fmla="*/ 1562048 h 2605256"/>
                <a:gd name="connsiteX78" fmla="*/ 1136332 w 1899285"/>
                <a:gd name="connsiteY78" fmla="*/ 1482991 h 2605256"/>
                <a:gd name="connsiteX79" fmla="*/ 1137285 w 1899285"/>
                <a:gd name="connsiteY79" fmla="*/ 1449653 h 2605256"/>
                <a:gd name="connsiteX80" fmla="*/ 1063942 w 1899285"/>
                <a:gd name="connsiteY80" fmla="*/ 1430603 h 2605256"/>
                <a:gd name="connsiteX81" fmla="*/ 1132522 w 1899285"/>
                <a:gd name="connsiteY81" fmla="*/ 1408696 h 2605256"/>
                <a:gd name="connsiteX82" fmla="*/ 1133475 w 1899285"/>
                <a:gd name="connsiteY82" fmla="*/ 1395361 h 2605256"/>
                <a:gd name="connsiteX83" fmla="*/ 1064895 w 1899285"/>
                <a:gd name="connsiteY83" fmla="*/ 1365833 h 2605256"/>
                <a:gd name="connsiteX84" fmla="*/ 926782 w 1899285"/>
                <a:gd name="connsiteY84" fmla="*/ 1315351 h 2605256"/>
                <a:gd name="connsiteX85" fmla="*/ 718185 w 1899285"/>
                <a:gd name="connsiteY85" fmla="*/ 1302016 h 2605256"/>
                <a:gd name="connsiteX86" fmla="*/ 839152 w 1899285"/>
                <a:gd name="connsiteY86" fmla="*/ 1376311 h 2605256"/>
                <a:gd name="connsiteX87" fmla="*/ 847725 w 1899285"/>
                <a:gd name="connsiteY87" fmla="*/ 1324876 h 2605256"/>
                <a:gd name="connsiteX88" fmla="*/ 718185 w 1899285"/>
                <a:gd name="connsiteY88" fmla="*/ 1302016 h 2605256"/>
                <a:gd name="connsiteX89" fmla="*/ 1359262 w 1899285"/>
                <a:gd name="connsiteY89" fmla="*/ 1301435 h 2605256"/>
                <a:gd name="connsiteX90" fmla="*/ 1242060 w 1899285"/>
                <a:gd name="connsiteY90" fmla="*/ 1367738 h 2605256"/>
                <a:gd name="connsiteX91" fmla="*/ 1252537 w 1899285"/>
                <a:gd name="connsiteY91" fmla="*/ 1400123 h 2605256"/>
                <a:gd name="connsiteX92" fmla="*/ 1313497 w 1899285"/>
                <a:gd name="connsiteY92" fmla="*/ 1406791 h 2605256"/>
                <a:gd name="connsiteX93" fmla="*/ 1259205 w 1899285"/>
                <a:gd name="connsiteY93" fmla="*/ 1418221 h 2605256"/>
                <a:gd name="connsiteX94" fmla="*/ 1257300 w 1899285"/>
                <a:gd name="connsiteY94" fmla="*/ 1469656 h 2605256"/>
                <a:gd name="connsiteX95" fmla="*/ 1416367 w 1899285"/>
                <a:gd name="connsiteY95" fmla="*/ 1491563 h 2605256"/>
                <a:gd name="connsiteX96" fmla="*/ 1428750 w 1899285"/>
                <a:gd name="connsiteY96" fmla="*/ 1420126 h 2605256"/>
                <a:gd name="connsiteX97" fmla="*/ 1397317 w 1899285"/>
                <a:gd name="connsiteY97" fmla="*/ 1303921 h 2605256"/>
                <a:gd name="connsiteX98" fmla="*/ 1359262 w 1899285"/>
                <a:gd name="connsiteY98" fmla="*/ 1301435 h 2605256"/>
                <a:gd name="connsiteX99" fmla="*/ 1274445 w 1899285"/>
                <a:gd name="connsiteY99" fmla="*/ 1301063 h 2605256"/>
                <a:gd name="connsiteX100" fmla="*/ 1089660 w 1899285"/>
                <a:gd name="connsiteY100" fmla="*/ 1316303 h 2605256"/>
                <a:gd name="connsiteX101" fmla="*/ 1084897 w 1899285"/>
                <a:gd name="connsiteY101" fmla="*/ 1321066 h 2605256"/>
                <a:gd name="connsiteX102" fmla="*/ 1204912 w 1899285"/>
                <a:gd name="connsiteY102" fmla="*/ 1355356 h 2605256"/>
                <a:gd name="connsiteX103" fmla="*/ 1274445 w 1899285"/>
                <a:gd name="connsiteY103" fmla="*/ 1301063 h 2605256"/>
                <a:gd name="connsiteX104" fmla="*/ 585787 w 1899285"/>
                <a:gd name="connsiteY104" fmla="*/ 1245818 h 2605256"/>
                <a:gd name="connsiteX105" fmla="*/ 264795 w 1899285"/>
                <a:gd name="connsiteY105" fmla="*/ 1444891 h 2605256"/>
                <a:gd name="connsiteX106" fmla="*/ 401002 w 1899285"/>
                <a:gd name="connsiteY106" fmla="*/ 2119261 h 2605256"/>
                <a:gd name="connsiteX107" fmla="*/ 741045 w 1899285"/>
                <a:gd name="connsiteY107" fmla="*/ 2245943 h 2605256"/>
                <a:gd name="connsiteX108" fmla="*/ 700087 w 1899285"/>
                <a:gd name="connsiteY108" fmla="*/ 1913521 h 2605256"/>
                <a:gd name="connsiteX109" fmla="*/ 579120 w 1899285"/>
                <a:gd name="connsiteY109" fmla="*/ 1908758 h 2605256"/>
                <a:gd name="connsiteX110" fmla="*/ 635317 w 1899285"/>
                <a:gd name="connsiteY110" fmla="*/ 1863991 h 2605256"/>
                <a:gd name="connsiteX111" fmla="*/ 617220 w 1899285"/>
                <a:gd name="connsiteY111" fmla="*/ 1808746 h 2605256"/>
                <a:gd name="connsiteX112" fmla="*/ 685800 w 1899285"/>
                <a:gd name="connsiteY112" fmla="*/ 1847798 h 2605256"/>
                <a:gd name="connsiteX113" fmla="*/ 689610 w 1899285"/>
                <a:gd name="connsiteY113" fmla="*/ 1644916 h 2605256"/>
                <a:gd name="connsiteX114" fmla="*/ 713422 w 1899285"/>
                <a:gd name="connsiteY114" fmla="*/ 1603006 h 2605256"/>
                <a:gd name="connsiteX115" fmla="*/ 714375 w 1899285"/>
                <a:gd name="connsiteY115" fmla="*/ 1754453 h 2605256"/>
                <a:gd name="connsiteX116" fmla="*/ 725805 w 1899285"/>
                <a:gd name="connsiteY116" fmla="*/ 1861133 h 2605256"/>
                <a:gd name="connsiteX117" fmla="*/ 1155382 w 1899285"/>
                <a:gd name="connsiteY117" fmla="*/ 1825891 h 2605256"/>
                <a:gd name="connsiteX118" fmla="*/ 1040130 w 1899285"/>
                <a:gd name="connsiteY118" fmla="*/ 1774456 h 2605256"/>
                <a:gd name="connsiteX119" fmla="*/ 936307 w 1899285"/>
                <a:gd name="connsiteY119" fmla="*/ 1711591 h 2605256"/>
                <a:gd name="connsiteX120" fmla="*/ 971550 w 1899285"/>
                <a:gd name="connsiteY120" fmla="*/ 1627771 h 2605256"/>
                <a:gd name="connsiteX121" fmla="*/ 871537 w 1899285"/>
                <a:gd name="connsiteY121" fmla="*/ 1538236 h 2605256"/>
                <a:gd name="connsiteX122" fmla="*/ 843915 w 1899285"/>
                <a:gd name="connsiteY122" fmla="*/ 1426793 h 2605256"/>
                <a:gd name="connsiteX123" fmla="*/ 667702 w 1899285"/>
                <a:gd name="connsiteY123" fmla="*/ 1332496 h 2605256"/>
                <a:gd name="connsiteX124" fmla="*/ 585787 w 1899285"/>
                <a:gd name="connsiteY124" fmla="*/ 1245818 h 2605256"/>
                <a:gd name="connsiteX125" fmla="*/ 1434465 w 1899285"/>
                <a:gd name="connsiteY125" fmla="*/ 1194383 h 2605256"/>
                <a:gd name="connsiteX126" fmla="*/ 1368742 w 1899285"/>
                <a:gd name="connsiteY126" fmla="*/ 1255343 h 2605256"/>
                <a:gd name="connsiteX127" fmla="*/ 1444942 w 1899285"/>
                <a:gd name="connsiteY127" fmla="*/ 1502041 h 2605256"/>
                <a:gd name="connsiteX128" fmla="*/ 1479232 w 1899285"/>
                <a:gd name="connsiteY128" fmla="*/ 1550618 h 2605256"/>
                <a:gd name="connsiteX129" fmla="*/ 1310640 w 1899285"/>
                <a:gd name="connsiteY129" fmla="*/ 1832558 h 2605256"/>
                <a:gd name="connsiteX130" fmla="*/ 1456372 w 1899285"/>
                <a:gd name="connsiteY130" fmla="*/ 1807793 h 2605256"/>
                <a:gd name="connsiteX131" fmla="*/ 1500187 w 1899285"/>
                <a:gd name="connsiteY131" fmla="*/ 1728736 h 2605256"/>
                <a:gd name="connsiteX132" fmla="*/ 1592580 w 1899285"/>
                <a:gd name="connsiteY132" fmla="*/ 1443938 h 2605256"/>
                <a:gd name="connsiteX133" fmla="*/ 1604962 w 1899285"/>
                <a:gd name="connsiteY133" fmla="*/ 1365833 h 2605256"/>
                <a:gd name="connsiteX134" fmla="*/ 1538287 w 1899285"/>
                <a:gd name="connsiteY134" fmla="*/ 1293443 h 2605256"/>
                <a:gd name="connsiteX135" fmla="*/ 1434465 w 1899285"/>
                <a:gd name="connsiteY135" fmla="*/ 1194383 h 2605256"/>
                <a:gd name="connsiteX136" fmla="*/ 1035367 w 1899285"/>
                <a:gd name="connsiteY136" fmla="*/ 998168 h 2605256"/>
                <a:gd name="connsiteX137" fmla="*/ 1337309 w 1899285"/>
                <a:gd name="connsiteY137" fmla="*/ 1086750 h 2605256"/>
                <a:gd name="connsiteX138" fmla="*/ 1306829 w 1899285"/>
                <a:gd name="connsiteY138" fmla="*/ 1121993 h 2605256"/>
                <a:gd name="connsiteX139" fmla="*/ 1109662 w 1899285"/>
                <a:gd name="connsiteY139" fmla="*/ 1121040 h 2605256"/>
                <a:gd name="connsiteX140" fmla="*/ 1036320 w 1899285"/>
                <a:gd name="connsiteY140" fmla="*/ 1039125 h 2605256"/>
                <a:gd name="connsiteX141" fmla="*/ 1035367 w 1899285"/>
                <a:gd name="connsiteY141" fmla="*/ 998168 h 2605256"/>
                <a:gd name="connsiteX142" fmla="*/ 1045845 w 1899285"/>
                <a:gd name="connsiteY142" fmla="*/ 940066 h 2605256"/>
                <a:gd name="connsiteX143" fmla="*/ 1296352 w 1899285"/>
                <a:gd name="connsiteY143" fmla="*/ 972451 h 2605256"/>
                <a:gd name="connsiteX144" fmla="*/ 1301115 w 1899285"/>
                <a:gd name="connsiteY144" fmla="*/ 1033411 h 2605256"/>
                <a:gd name="connsiteX145" fmla="*/ 1045845 w 1899285"/>
                <a:gd name="connsiteY145" fmla="*/ 940066 h 2605256"/>
                <a:gd name="connsiteX146" fmla="*/ 1494473 w 1899285"/>
                <a:gd name="connsiteY146" fmla="*/ 901013 h 2605256"/>
                <a:gd name="connsiteX147" fmla="*/ 1323975 w 1899285"/>
                <a:gd name="connsiteY147" fmla="*/ 1029600 h 2605256"/>
                <a:gd name="connsiteX148" fmla="*/ 1323975 w 1899285"/>
                <a:gd name="connsiteY148" fmla="*/ 968640 h 2605256"/>
                <a:gd name="connsiteX149" fmla="*/ 1494473 w 1899285"/>
                <a:gd name="connsiteY149" fmla="*/ 901013 h 2605256"/>
                <a:gd name="connsiteX150" fmla="*/ 470458 w 1899285"/>
                <a:gd name="connsiteY150" fmla="*/ 689181 h 2605256"/>
                <a:gd name="connsiteX151" fmla="*/ 548640 w 1899285"/>
                <a:gd name="connsiteY151" fmla="*/ 809573 h 2605256"/>
                <a:gd name="connsiteX152" fmla="*/ 497205 w 1899285"/>
                <a:gd name="connsiteY152" fmla="*/ 741946 h 2605256"/>
                <a:gd name="connsiteX153" fmla="*/ 467677 w 1899285"/>
                <a:gd name="connsiteY153" fmla="*/ 853388 h 2605256"/>
                <a:gd name="connsiteX154" fmla="*/ 457200 w 1899285"/>
                <a:gd name="connsiteY154" fmla="*/ 726706 h 2605256"/>
                <a:gd name="connsiteX155" fmla="*/ 415290 w 1899285"/>
                <a:gd name="connsiteY155" fmla="*/ 745756 h 2605256"/>
                <a:gd name="connsiteX156" fmla="*/ 470458 w 1899285"/>
                <a:gd name="connsiteY156" fmla="*/ 689181 h 2605256"/>
                <a:gd name="connsiteX157" fmla="*/ 1596390 w 1899285"/>
                <a:gd name="connsiteY157" fmla="*/ 633361 h 2605256"/>
                <a:gd name="connsiteX158" fmla="*/ 1552575 w 1899285"/>
                <a:gd name="connsiteY158" fmla="*/ 948638 h 2605256"/>
                <a:gd name="connsiteX159" fmla="*/ 1517332 w 1899285"/>
                <a:gd name="connsiteY159" fmla="*/ 1050556 h 2605256"/>
                <a:gd name="connsiteX160" fmla="*/ 1475422 w 1899285"/>
                <a:gd name="connsiteY160" fmla="*/ 1141043 h 2605256"/>
                <a:gd name="connsiteX161" fmla="*/ 1570672 w 1899285"/>
                <a:gd name="connsiteY161" fmla="*/ 1235341 h 2605256"/>
                <a:gd name="connsiteX162" fmla="*/ 1659255 w 1899285"/>
                <a:gd name="connsiteY162" fmla="*/ 1335353 h 2605256"/>
                <a:gd name="connsiteX163" fmla="*/ 1631632 w 1899285"/>
                <a:gd name="connsiteY163" fmla="*/ 1460131 h 2605256"/>
                <a:gd name="connsiteX164" fmla="*/ 1519237 w 1899285"/>
                <a:gd name="connsiteY164" fmla="*/ 1800173 h 2605256"/>
                <a:gd name="connsiteX165" fmla="*/ 1706880 w 1899285"/>
                <a:gd name="connsiteY165" fmla="*/ 1739213 h 2605256"/>
                <a:gd name="connsiteX166" fmla="*/ 1842135 w 1899285"/>
                <a:gd name="connsiteY166" fmla="*/ 1258201 h 2605256"/>
                <a:gd name="connsiteX167" fmla="*/ 1596390 w 1899285"/>
                <a:gd name="connsiteY167" fmla="*/ 633361 h 2605256"/>
                <a:gd name="connsiteX168" fmla="*/ 358140 w 1899285"/>
                <a:gd name="connsiteY168" fmla="*/ 579068 h 2605256"/>
                <a:gd name="connsiteX169" fmla="*/ 319087 w 1899285"/>
                <a:gd name="connsiteY169" fmla="*/ 616216 h 2605256"/>
                <a:gd name="connsiteX170" fmla="*/ 57150 w 1899285"/>
                <a:gd name="connsiteY170" fmla="*/ 1258201 h 2605256"/>
                <a:gd name="connsiteX171" fmla="*/ 319087 w 1899285"/>
                <a:gd name="connsiteY171" fmla="*/ 1900186 h 2605256"/>
                <a:gd name="connsiteX172" fmla="*/ 337185 w 1899285"/>
                <a:gd name="connsiteY172" fmla="*/ 1919236 h 2605256"/>
                <a:gd name="connsiteX173" fmla="*/ 305752 w 1899285"/>
                <a:gd name="connsiteY173" fmla="*/ 1731593 h 2605256"/>
                <a:gd name="connsiteX174" fmla="*/ 255270 w 1899285"/>
                <a:gd name="connsiteY174" fmla="*/ 1589671 h 2605256"/>
                <a:gd name="connsiteX175" fmla="*/ 208597 w 1899285"/>
                <a:gd name="connsiteY175" fmla="*/ 1445843 h 2605256"/>
                <a:gd name="connsiteX176" fmla="*/ 300037 w 1899285"/>
                <a:gd name="connsiteY176" fmla="*/ 1347736 h 2605256"/>
                <a:gd name="connsiteX177" fmla="*/ 475297 w 1899285"/>
                <a:gd name="connsiteY177" fmla="*/ 1239151 h 2605256"/>
                <a:gd name="connsiteX178" fmla="*/ 561022 w 1899285"/>
                <a:gd name="connsiteY178" fmla="*/ 1183906 h 2605256"/>
                <a:gd name="connsiteX179" fmla="*/ 528637 w 1899285"/>
                <a:gd name="connsiteY179" fmla="*/ 1097228 h 2605256"/>
                <a:gd name="connsiteX180" fmla="*/ 502920 w 1899285"/>
                <a:gd name="connsiteY180" fmla="*/ 1001978 h 2605256"/>
                <a:gd name="connsiteX181" fmla="*/ 380047 w 1899285"/>
                <a:gd name="connsiteY181" fmla="*/ 922921 h 2605256"/>
                <a:gd name="connsiteX182" fmla="*/ 344805 w 1899285"/>
                <a:gd name="connsiteY182" fmla="*/ 660031 h 2605256"/>
                <a:gd name="connsiteX183" fmla="*/ 363855 w 1899285"/>
                <a:gd name="connsiteY183" fmla="*/ 629551 h 2605256"/>
                <a:gd name="connsiteX184" fmla="*/ 358140 w 1899285"/>
                <a:gd name="connsiteY184" fmla="*/ 579068 h 2605256"/>
                <a:gd name="connsiteX185" fmla="*/ 1269757 w 1899285"/>
                <a:gd name="connsiteY185" fmla="*/ 513598 h 2605256"/>
                <a:gd name="connsiteX186" fmla="*/ 1283018 w 1899285"/>
                <a:gd name="connsiteY186" fmla="*/ 546683 h 2605256"/>
                <a:gd name="connsiteX187" fmla="*/ 1429703 w 1899285"/>
                <a:gd name="connsiteY187" fmla="*/ 746708 h 2605256"/>
                <a:gd name="connsiteX188" fmla="*/ 1464946 w 1899285"/>
                <a:gd name="connsiteY188" fmla="*/ 781951 h 2605256"/>
                <a:gd name="connsiteX189" fmla="*/ 1450658 w 1899285"/>
                <a:gd name="connsiteY189" fmla="*/ 856246 h 2605256"/>
                <a:gd name="connsiteX190" fmla="*/ 1193483 w 1899285"/>
                <a:gd name="connsiteY190" fmla="*/ 936256 h 2605256"/>
                <a:gd name="connsiteX191" fmla="*/ 1183958 w 1899285"/>
                <a:gd name="connsiteY191" fmla="*/ 839101 h 2605256"/>
                <a:gd name="connsiteX192" fmla="*/ 1222058 w 1899285"/>
                <a:gd name="connsiteY192" fmla="*/ 903871 h 2605256"/>
                <a:gd name="connsiteX193" fmla="*/ 1404938 w 1899285"/>
                <a:gd name="connsiteY193" fmla="*/ 847673 h 2605256"/>
                <a:gd name="connsiteX194" fmla="*/ 1377316 w 1899285"/>
                <a:gd name="connsiteY194" fmla="*/ 751471 h 2605256"/>
                <a:gd name="connsiteX195" fmla="*/ 1257300 w 1899285"/>
                <a:gd name="connsiteY195" fmla="*/ 516203 h 2605256"/>
                <a:gd name="connsiteX196" fmla="*/ 1269757 w 1899285"/>
                <a:gd name="connsiteY196" fmla="*/ 513598 h 2605256"/>
                <a:gd name="connsiteX197" fmla="*/ 1051560 w 1899285"/>
                <a:gd name="connsiteY197" fmla="*/ 476198 h 2605256"/>
                <a:gd name="connsiteX198" fmla="*/ 1107757 w 1899285"/>
                <a:gd name="connsiteY198" fmla="*/ 580973 h 2605256"/>
                <a:gd name="connsiteX199" fmla="*/ 1133475 w 1899285"/>
                <a:gd name="connsiteY199" fmla="*/ 644790 h 2605256"/>
                <a:gd name="connsiteX200" fmla="*/ 1096327 w 1899285"/>
                <a:gd name="connsiteY200" fmla="*/ 675270 h 2605256"/>
                <a:gd name="connsiteX201" fmla="*/ 981075 w 1899285"/>
                <a:gd name="connsiteY201" fmla="*/ 621930 h 2605256"/>
                <a:gd name="connsiteX202" fmla="*/ 1097280 w 1899285"/>
                <a:gd name="connsiteY202" fmla="*/ 619073 h 2605256"/>
                <a:gd name="connsiteX203" fmla="*/ 1051560 w 1899285"/>
                <a:gd name="connsiteY203" fmla="*/ 476198 h 2605256"/>
                <a:gd name="connsiteX204" fmla="*/ 1466850 w 1899285"/>
                <a:gd name="connsiteY204" fmla="*/ 475246 h 2605256"/>
                <a:gd name="connsiteX205" fmla="*/ 1471612 w 1899285"/>
                <a:gd name="connsiteY205" fmla="*/ 475246 h 2605256"/>
                <a:gd name="connsiteX206" fmla="*/ 1539240 w 1899285"/>
                <a:gd name="connsiteY206" fmla="*/ 606691 h 2605256"/>
                <a:gd name="connsiteX207" fmla="*/ 1403032 w 1899285"/>
                <a:gd name="connsiteY207" fmla="*/ 610501 h 2605256"/>
                <a:gd name="connsiteX208" fmla="*/ 1496377 w 1899285"/>
                <a:gd name="connsiteY208" fmla="*/ 593356 h 2605256"/>
                <a:gd name="connsiteX209" fmla="*/ 1466850 w 1899285"/>
                <a:gd name="connsiteY209" fmla="*/ 475246 h 2605256"/>
                <a:gd name="connsiteX210" fmla="*/ 620077 w 1899285"/>
                <a:gd name="connsiteY210" fmla="*/ 319036 h 2605256"/>
                <a:gd name="connsiteX211" fmla="*/ 447675 w 1899285"/>
                <a:gd name="connsiteY211" fmla="*/ 399998 h 2605256"/>
                <a:gd name="connsiteX212" fmla="*/ 417195 w 1899285"/>
                <a:gd name="connsiteY212" fmla="*/ 613358 h 2605256"/>
                <a:gd name="connsiteX213" fmla="*/ 609600 w 1899285"/>
                <a:gd name="connsiteY213" fmla="*/ 706703 h 2605256"/>
                <a:gd name="connsiteX214" fmla="*/ 617220 w 1899285"/>
                <a:gd name="connsiteY214" fmla="*/ 625741 h 2605256"/>
                <a:gd name="connsiteX215" fmla="*/ 620077 w 1899285"/>
                <a:gd name="connsiteY215" fmla="*/ 319036 h 2605256"/>
                <a:gd name="connsiteX216" fmla="*/ 963930 w 1899285"/>
                <a:gd name="connsiteY216" fmla="*/ 312368 h 2605256"/>
                <a:gd name="connsiteX217" fmla="*/ 1002983 w 1899285"/>
                <a:gd name="connsiteY217" fmla="*/ 367613 h 2605256"/>
                <a:gd name="connsiteX218" fmla="*/ 831533 w 1899285"/>
                <a:gd name="connsiteY218" fmla="*/ 471436 h 2605256"/>
                <a:gd name="connsiteX219" fmla="*/ 822008 w 1899285"/>
                <a:gd name="connsiteY219" fmla="*/ 413333 h 2605256"/>
                <a:gd name="connsiteX220" fmla="*/ 963930 w 1899285"/>
                <a:gd name="connsiteY220" fmla="*/ 312368 h 2605256"/>
                <a:gd name="connsiteX221" fmla="*/ 776287 w 1899285"/>
                <a:gd name="connsiteY221" fmla="*/ 105676 h 2605256"/>
                <a:gd name="connsiteX222" fmla="*/ 496252 w 1899285"/>
                <a:gd name="connsiteY222" fmla="*/ 305701 h 2605256"/>
                <a:gd name="connsiteX223" fmla="*/ 584835 w 1899285"/>
                <a:gd name="connsiteY223" fmla="*/ 281888 h 2605256"/>
                <a:gd name="connsiteX224" fmla="*/ 627697 w 1899285"/>
                <a:gd name="connsiteY224" fmla="*/ 283793 h 2605256"/>
                <a:gd name="connsiteX225" fmla="*/ 701040 w 1899285"/>
                <a:gd name="connsiteY225" fmla="*/ 189496 h 2605256"/>
                <a:gd name="connsiteX226" fmla="*/ 763905 w 1899285"/>
                <a:gd name="connsiteY226" fmla="*/ 135203 h 2605256"/>
                <a:gd name="connsiteX227" fmla="*/ 791527 w 1899285"/>
                <a:gd name="connsiteY227" fmla="*/ 113296 h 2605256"/>
                <a:gd name="connsiteX228" fmla="*/ 776287 w 1899285"/>
                <a:gd name="connsiteY228" fmla="*/ 105676 h 2605256"/>
                <a:gd name="connsiteX229" fmla="*/ 1009382 w 1899285"/>
                <a:gd name="connsiteY229" fmla="*/ 58824 h 2605256"/>
                <a:gd name="connsiteX230" fmla="*/ 912495 w 1899285"/>
                <a:gd name="connsiteY230" fmla="*/ 83768 h 2605256"/>
                <a:gd name="connsiteX231" fmla="*/ 652462 w 1899285"/>
                <a:gd name="connsiteY231" fmla="*/ 303796 h 2605256"/>
                <a:gd name="connsiteX232" fmla="*/ 637222 w 1899285"/>
                <a:gd name="connsiteY232" fmla="*/ 578116 h 2605256"/>
                <a:gd name="connsiteX233" fmla="*/ 662940 w 1899285"/>
                <a:gd name="connsiteY233" fmla="*/ 727658 h 2605256"/>
                <a:gd name="connsiteX234" fmla="*/ 579120 w 1899285"/>
                <a:gd name="connsiteY234" fmla="*/ 751471 h 2605256"/>
                <a:gd name="connsiteX235" fmla="*/ 501967 w 1899285"/>
                <a:gd name="connsiteY235" fmla="*/ 642886 h 2605256"/>
                <a:gd name="connsiteX236" fmla="*/ 376237 w 1899285"/>
                <a:gd name="connsiteY236" fmla="*/ 755281 h 2605256"/>
                <a:gd name="connsiteX237" fmla="*/ 515302 w 1899285"/>
                <a:gd name="connsiteY237" fmla="*/ 939113 h 2605256"/>
                <a:gd name="connsiteX238" fmla="*/ 590550 w 1899285"/>
                <a:gd name="connsiteY238" fmla="*/ 903871 h 2605256"/>
                <a:gd name="connsiteX239" fmla="*/ 556260 w 1899285"/>
                <a:gd name="connsiteY239" fmla="*/ 981023 h 2605256"/>
                <a:gd name="connsiteX240" fmla="*/ 562927 w 1899285"/>
                <a:gd name="connsiteY240" fmla="*/ 1028648 h 2605256"/>
                <a:gd name="connsiteX241" fmla="*/ 645795 w 1899285"/>
                <a:gd name="connsiteY241" fmla="*/ 1221053 h 2605256"/>
                <a:gd name="connsiteX242" fmla="*/ 861060 w 1899285"/>
                <a:gd name="connsiteY242" fmla="*/ 1297253 h 2605256"/>
                <a:gd name="connsiteX243" fmla="*/ 974407 w 1899285"/>
                <a:gd name="connsiteY243" fmla="*/ 1274393 h 2605256"/>
                <a:gd name="connsiteX244" fmla="*/ 849630 w 1899285"/>
                <a:gd name="connsiteY244" fmla="*/ 1172476 h 2605256"/>
                <a:gd name="connsiteX245" fmla="*/ 765810 w 1899285"/>
                <a:gd name="connsiteY245" fmla="*/ 1020076 h 2605256"/>
                <a:gd name="connsiteX246" fmla="*/ 1046797 w 1899285"/>
                <a:gd name="connsiteY246" fmla="*/ 1267726 h 2605256"/>
                <a:gd name="connsiteX247" fmla="*/ 1358265 w 1899285"/>
                <a:gd name="connsiteY247" fmla="*/ 1194383 h 2605256"/>
                <a:gd name="connsiteX248" fmla="*/ 1436370 w 1899285"/>
                <a:gd name="connsiteY248" fmla="*/ 1098181 h 2605256"/>
                <a:gd name="connsiteX249" fmla="*/ 1559242 w 1899285"/>
                <a:gd name="connsiteY249" fmla="*/ 604786 h 2605256"/>
                <a:gd name="connsiteX250" fmla="*/ 1530667 w 1899285"/>
                <a:gd name="connsiteY250" fmla="*/ 407618 h 2605256"/>
                <a:gd name="connsiteX251" fmla="*/ 1365885 w 1899285"/>
                <a:gd name="connsiteY251" fmla="*/ 356183 h 2605256"/>
                <a:gd name="connsiteX252" fmla="*/ 1469707 w 1899285"/>
                <a:gd name="connsiteY252" fmla="*/ 292366 h 2605256"/>
                <a:gd name="connsiteX253" fmla="*/ 1318260 w 1899285"/>
                <a:gd name="connsiteY253" fmla="*/ 133298 h 2605256"/>
                <a:gd name="connsiteX254" fmla="*/ 1009382 w 1899285"/>
                <a:gd name="connsiteY254" fmla="*/ 58824 h 2605256"/>
                <a:gd name="connsiteX255" fmla="*/ 1098589 w 1899285"/>
                <a:gd name="connsiteY255" fmla="*/ 2448 h 2605256"/>
                <a:gd name="connsiteX256" fmla="*/ 1354455 w 1899285"/>
                <a:gd name="connsiteY256" fmla="*/ 87578 h 2605256"/>
                <a:gd name="connsiteX257" fmla="*/ 1531620 w 1899285"/>
                <a:gd name="connsiteY257" fmla="*/ 283793 h 2605256"/>
                <a:gd name="connsiteX258" fmla="*/ 1593532 w 1899285"/>
                <a:gd name="connsiteY258" fmla="*/ 549541 h 2605256"/>
                <a:gd name="connsiteX259" fmla="*/ 1621155 w 1899285"/>
                <a:gd name="connsiteY259" fmla="*/ 576211 h 2605256"/>
                <a:gd name="connsiteX260" fmla="*/ 1899285 w 1899285"/>
                <a:gd name="connsiteY260" fmla="*/ 1258201 h 2605256"/>
                <a:gd name="connsiteX261" fmla="*/ 1765935 w 1899285"/>
                <a:gd name="connsiteY261" fmla="*/ 1750643 h 2605256"/>
                <a:gd name="connsiteX262" fmla="*/ 1813560 w 1899285"/>
                <a:gd name="connsiteY262" fmla="*/ 1800173 h 2605256"/>
                <a:gd name="connsiteX263" fmla="*/ 1867852 w 1899285"/>
                <a:gd name="connsiteY263" fmla="*/ 1955431 h 2605256"/>
                <a:gd name="connsiteX264" fmla="*/ 1789747 w 1899285"/>
                <a:gd name="connsiteY264" fmla="*/ 2164028 h 2605256"/>
                <a:gd name="connsiteX265" fmla="*/ 1604010 w 1899285"/>
                <a:gd name="connsiteY265" fmla="*/ 2167838 h 2605256"/>
                <a:gd name="connsiteX266" fmla="*/ 1581150 w 1899285"/>
                <a:gd name="connsiteY266" fmla="*/ 2138311 h 2605256"/>
                <a:gd name="connsiteX267" fmla="*/ 1451610 w 1899285"/>
                <a:gd name="connsiteY267" fmla="*/ 2160218 h 2605256"/>
                <a:gd name="connsiteX268" fmla="*/ 1409700 w 1899285"/>
                <a:gd name="connsiteY268" fmla="*/ 2207843 h 2605256"/>
                <a:gd name="connsiteX269" fmla="*/ 1430655 w 1899285"/>
                <a:gd name="connsiteY269" fmla="*/ 2418346 h 2605256"/>
                <a:gd name="connsiteX270" fmla="*/ 1331595 w 1899285"/>
                <a:gd name="connsiteY270" fmla="*/ 2475496 h 2605256"/>
                <a:gd name="connsiteX271" fmla="*/ 1336357 w 1899285"/>
                <a:gd name="connsiteY271" fmla="*/ 2538361 h 2605256"/>
                <a:gd name="connsiteX272" fmla="*/ 1250632 w 1899285"/>
                <a:gd name="connsiteY272" fmla="*/ 2593606 h 2605256"/>
                <a:gd name="connsiteX273" fmla="*/ 823912 w 1899285"/>
                <a:gd name="connsiteY273" fmla="*/ 2572651 h 2605256"/>
                <a:gd name="connsiteX274" fmla="*/ 737235 w 1899285"/>
                <a:gd name="connsiteY274" fmla="*/ 2301188 h 2605256"/>
                <a:gd name="connsiteX275" fmla="*/ 441007 w 1899285"/>
                <a:gd name="connsiteY275" fmla="*/ 2210701 h 2605256"/>
                <a:gd name="connsiteX276" fmla="*/ 357187 w 1899285"/>
                <a:gd name="connsiteY276" fmla="*/ 2164981 h 2605256"/>
                <a:gd name="connsiteX277" fmla="*/ 347662 w 1899285"/>
                <a:gd name="connsiteY277" fmla="*/ 2054491 h 2605256"/>
                <a:gd name="connsiteX278" fmla="*/ 343852 w 1899285"/>
                <a:gd name="connsiteY278" fmla="*/ 2001151 h 2605256"/>
                <a:gd name="connsiteX279" fmla="*/ 278130 w 1899285"/>
                <a:gd name="connsiteY279" fmla="*/ 1940191 h 2605256"/>
                <a:gd name="connsiteX280" fmla="*/ 0 w 1899285"/>
                <a:gd name="connsiteY280" fmla="*/ 1258201 h 2605256"/>
                <a:gd name="connsiteX281" fmla="*/ 278130 w 1899285"/>
                <a:gd name="connsiteY281" fmla="*/ 577163 h 2605256"/>
                <a:gd name="connsiteX282" fmla="*/ 356235 w 1899285"/>
                <a:gd name="connsiteY282" fmla="*/ 505726 h 2605256"/>
                <a:gd name="connsiteX283" fmla="*/ 450532 w 1899285"/>
                <a:gd name="connsiteY283" fmla="*/ 314273 h 2605256"/>
                <a:gd name="connsiteX284" fmla="*/ 695325 w 1899285"/>
                <a:gd name="connsiteY284" fmla="*/ 89483 h 2605256"/>
                <a:gd name="connsiteX285" fmla="*/ 822007 w 1899285"/>
                <a:gd name="connsiteY285" fmla="*/ 35191 h 2605256"/>
                <a:gd name="connsiteX286" fmla="*/ 1098589 w 1899285"/>
                <a:gd name="connsiteY286" fmla="*/ 2448 h 260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1899285" h="2605256">
                  <a:moveTo>
                    <a:pt x="1355407" y="2215463"/>
                  </a:moveTo>
                  <a:cubicBezTo>
                    <a:pt x="1341120" y="2211653"/>
                    <a:pt x="1314450" y="2224988"/>
                    <a:pt x="1296352" y="2224036"/>
                  </a:cubicBezTo>
                  <a:cubicBezTo>
                    <a:pt x="1293495" y="2279281"/>
                    <a:pt x="1301115" y="2366911"/>
                    <a:pt x="1303972" y="2425013"/>
                  </a:cubicBezTo>
                  <a:cubicBezTo>
                    <a:pt x="1340167" y="2425013"/>
                    <a:pt x="1355407" y="2417393"/>
                    <a:pt x="1383030" y="2407868"/>
                  </a:cubicBezTo>
                  <a:cubicBezTo>
                    <a:pt x="1385887" y="2339288"/>
                    <a:pt x="1361122" y="2276423"/>
                    <a:pt x="1355407" y="2215463"/>
                  </a:cubicBezTo>
                  <a:close/>
                  <a:moveTo>
                    <a:pt x="1664018" y="1999365"/>
                  </a:moveTo>
                  <a:cubicBezTo>
                    <a:pt x="1697117" y="2002103"/>
                    <a:pt x="1730693" y="2010200"/>
                    <a:pt x="1746885" y="2017343"/>
                  </a:cubicBezTo>
                  <a:cubicBezTo>
                    <a:pt x="1696403" y="2018296"/>
                    <a:pt x="1632585" y="2017343"/>
                    <a:pt x="1584008" y="2013533"/>
                  </a:cubicBezTo>
                  <a:cubicBezTo>
                    <a:pt x="1598296" y="1999246"/>
                    <a:pt x="1630919" y="1996626"/>
                    <a:pt x="1664018" y="1999365"/>
                  </a:cubicBezTo>
                  <a:close/>
                  <a:moveTo>
                    <a:pt x="1652825" y="1933880"/>
                  </a:moveTo>
                  <a:cubicBezTo>
                    <a:pt x="1681400" y="1934237"/>
                    <a:pt x="1712119" y="1940190"/>
                    <a:pt x="1731645" y="1946857"/>
                  </a:cubicBezTo>
                  <a:cubicBezTo>
                    <a:pt x="1686877" y="1950668"/>
                    <a:pt x="1632585" y="1958288"/>
                    <a:pt x="1586865" y="1954478"/>
                  </a:cubicBezTo>
                  <a:cubicBezTo>
                    <a:pt x="1597819" y="1938762"/>
                    <a:pt x="1624250" y="1933523"/>
                    <a:pt x="1652825" y="1933880"/>
                  </a:cubicBezTo>
                  <a:close/>
                  <a:moveTo>
                    <a:pt x="1353502" y="1883041"/>
                  </a:moveTo>
                  <a:cubicBezTo>
                    <a:pt x="1327785" y="1883041"/>
                    <a:pt x="1304925" y="1883041"/>
                    <a:pt x="1279207" y="1891613"/>
                  </a:cubicBezTo>
                  <a:cubicBezTo>
                    <a:pt x="1278255" y="1986863"/>
                    <a:pt x="1283017" y="2081161"/>
                    <a:pt x="1290637" y="2176411"/>
                  </a:cubicBezTo>
                  <a:cubicBezTo>
                    <a:pt x="1326832" y="2170696"/>
                    <a:pt x="1351597" y="2166886"/>
                    <a:pt x="1385887" y="2159266"/>
                  </a:cubicBezTo>
                  <a:cubicBezTo>
                    <a:pt x="1374457" y="2067826"/>
                    <a:pt x="1376362" y="1964003"/>
                    <a:pt x="1353502" y="1883041"/>
                  </a:cubicBezTo>
                  <a:close/>
                  <a:moveTo>
                    <a:pt x="1119083" y="1876790"/>
                  </a:moveTo>
                  <a:cubicBezTo>
                    <a:pt x="987504" y="1871789"/>
                    <a:pt x="838914" y="1890898"/>
                    <a:pt x="726757" y="1911616"/>
                  </a:cubicBezTo>
                  <a:cubicBezTo>
                    <a:pt x="750570" y="2132596"/>
                    <a:pt x="785812" y="2319286"/>
                    <a:pt x="849630" y="2515501"/>
                  </a:cubicBezTo>
                  <a:cubicBezTo>
                    <a:pt x="991552" y="2558363"/>
                    <a:pt x="1163002" y="2562173"/>
                    <a:pt x="1288732" y="2523121"/>
                  </a:cubicBezTo>
                  <a:cubicBezTo>
                    <a:pt x="1265872" y="2412631"/>
                    <a:pt x="1275397" y="2277376"/>
                    <a:pt x="1262062" y="2159266"/>
                  </a:cubicBezTo>
                  <a:cubicBezTo>
                    <a:pt x="1251585" y="2070683"/>
                    <a:pt x="1257300" y="1981148"/>
                    <a:pt x="1243012" y="1890661"/>
                  </a:cubicBezTo>
                  <a:cubicBezTo>
                    <a:pt x="1204912" y="1882802"/>
                    <a:pt x="1162942" y="1878457"/>
                    <a:pt x="1119083" y="1876790"/>
                  </a:cubicBezTo>
                  <a:close/>
                  <a:moveTo>
                    <a:pt x="1437441" y="1874944"/>
                  </a:moveTo>
                  <a:cubicBezTo>
                    <a:pt x="1428035" y="1875420"/>
                    <a:pt x="1418748" y="1876373"/>
                    <a:pt x="1410652" y="1876373"/>
                  </a:cubicBezTo>
                  <a:cubicBezTo>
                    <a:pt x="1418272" y="1954478"/>
                    <a:pt x="1437322" y="2040203"/>
                    <a:pt x="1443990" y="2121166"/>
                  </a:cubicBezTo>
                  <a:cubicBezTo>
                    <a:pt x="1469707" y="2122118"/>
                    <a:pt x="1483042" y="2109736"/>
                    <a:pt x="1504950" y="2105926"/>
                  </a:cubicBezTo>
                  <a:cubicBezTo>
                    <a:pt x="1505902" y="2034488"/>
                    <a:pt x="1498282" y="1935428"/>
                    <a:pt x="1464945" y="1876373"/>
                  </a:cubicBezTo>
                  <a:cubicBezTo>
                    <a:pt x="1456372" y="1874468"/>
                    <a:pt x="1446847" y="1874468"/>
                    <a:pt x="1437441" y="1874944"/>
                  </a:cubicBezTo>
                  <a:close/>
                  <a:moveTo>
                    <a:pt x="1706880" y="1864943"/>
                  </a:moveTo>
                  <a:cubicBezTo>
                    <a:pt x="1650683" y="1875420"/>
                    <a:pt x="1611630" y="1925903"/>
                    <a:pt x="1557338" y="1923045"/>
                  </a:cubicBezTo>
                  <a:cubicBezTo>
                    <a:pt x="1587818" y="1883040"/>
                    <a:pt x="1640205" y="1865895"/>
                    <a:pt x="1706880" y="1864943"/>
                  </a:cubicBezTo>
                  <a:close/>
                  <a:moveTo>
                    <a:pt x="1711374" y="1786749"/>
                  </a:moveTo>
                  <a:cubicBezTo>
                    <a:pt x="1703070" y="1786540"/>
                    <a:pt x="1694735" y="1788505"/>
                    <a:pt x="1686877" y="1793506"/>
                  </a:cubicBezTo>
                  <a:cubicBezTo>
                    <a:pt x="1636395" y="1825891"/>
                    <a:pt x="1547812" y="1835416"/>
                    <a:pt x="1510665" y="1874468"/>
                  </a:cubicBezTo>
                  <a:cubicBezTo>
                    <a:pt x="1528762" y="1935428"/>
                    <a:pt x="1534477" y="2020201"/>
                    <a:pt x="1542097" y="2098306"/>
                  </a:cubicBezTo>
                  <a:cubicBezTo>
                    <a:pt x="1604962" y="2103068"/>
                    <a:pt x="1683067" y="2081161"/>
                    <a:pt x="1735455" y="2104021"/>
                  </a:cubicBezTo>
                  <a:cubicBezTo>
                    <a:pt x="1698307" y="2116403"/>
                    <a:pt x="1650682" y="2116403"/>
                    <a:pt x="1619250" y="2133548"/>
                  </a:cubicBezTo>
                  <a:cubicBezTo>
                    <a:pt x="1644967" y="2145931"/>
                    <a:pt x="1704975" y="2143073"/>
                    <a:pt x="1744980" y="2133548"/>
                  </a:cubicBezTo>
                  <a:cubicBezTo>
                    <a:pt x="1799272" y="2120213"/>
                    <a:pt x="1833562" y="2053538"/>
                    <a:pt x="1819275" y="1985911"/>
                  </a:cubicBezTo>
                  <a:cubicBezTo>
                    <a:pt x="1808797" y="1940191"/>
                    <a:pt x="1790700" y="1853513"/>
                    <a:pt x="1771650" y="1823986"/>
                  </a:cubicBezTo>
                  <a:cubicBezTo>
                    <a:pt x="1760934" y="1807555"/>
                    <a:pt x="1736288" y="1787374"/>
                    <a:pt x="1711374" y="1786749"/>
                  </a:cubicBezTo>
                  <a:close/>
                  <a:moveTo>
                    <a:pt x="1262063" y="1634438"/>
                  </a:moveTo>
                  <a:cubicBezTo>
                    <a:pt x="1271588" y="1634438"/>
                    <a:pt x="1279208" y="1643963"/>
                    <a:pt x="1279208" y="1655393"/>
                  </a:cubicBezTo>
                  <a:cubicBezTo>
                    <a:pt x="1279208" y="1666823"/>
                    <a:pt x="1271588" y="1676348"/>
                    <a:pt x="1262063" y="1676348"/>
                  </a:cubicBezTo>
                  <a:cubicBezTo>
                    <a:pt x="1252538" y="1676348"/>
                    <a:pt x="1244918" y="1666823"/>
                    <a:pt x="1244918" y="1655393"/>
                  </a:cubicBezTo>
                  <a:cubicBezTo>
                    <a:pt x="1244918" y="1643963"/>
                    <a:pt x="1252538" y="1634438"/>
                    <a:pt x="1262063" y="1634438"/>
                  </a:cubicBezTo>
                  <a:close/>
                  <a:moveTo>
                    <a:pt x="1109662" y="1547761"/>
                  </a:moveTo>
                  <a:cubicBezTo>
                    <a:pt x="1054417" y="1584908"/>
                    <a:pt x="994410" y="1619198"/>
                    <a:pt x="978217" y="1686826"/>
                  </a:cubicBezTo>
                  <a:cubicBezTo>
                    <a:pt x="1057275" y="1731593"/>
                    <a:pt x="1148715" y="1775408"/>
                    <a:pt x="1239202" y="1803031"/>
                  </a:cubicBezTo>
                  <a:cubicBezTo>
                    <a:pt x="1201102" y="1713496"/>
                    <a:pt x="1166812" y="1620151"/>
                    <a:pt x="1109662" y="1547761"/>
                  </a:cubicBezTo>
                  <a:close/>
                  <a:moveTo>
                    <a:pt x="1244918" y="1536331"/>
                  </a:moveTo>
                  <a:cubicBezTo>
                    <a:pt x="1254443" y="1536331"/>
                    <a:pt x="1262063" y="1545856"/>
                    <a:pt x="1262063" y="1557286"/>
                  </a:cubicBezTo>
                  <a:cubicBezTo>
                    <a:pt x="1262063" y="1568716"/>
                    <a:pt x="1254443" y="1578241"/>
                    <a:pt x="1244918" y="1578241"/>
                  </a:cubicBezTo>
                  <a:cubicBezTo>
                    <a:pt x="1235393" y="1578241"/>
                    <a:pt x="1227773" y="1568716"/>
                    <a:pt x="1227773" y="1557286"/>
                  </a:cubicBezTo>
                  <a:cubicBezTo>
                    <a:pt x="1227773" y="1545856"/>
                    <a:pt x="1235393" y="1536331"/>
                    <a:pt x="1244918" y="1536331"/>
                  </a:cubicBezTo>
                  <a:close/>
                  <a:moveTo>
                    <a:pt x="1369695" y="1516254"/>
                  </a:moveTo>
                  <a:cubicBezTo>
                    <a:pt x="1358265" y="1516328"/>
                    <a:pt x="1346120" y="1518947"/>
                    <a:pt x="1333500" y="1524901"/>
                  </a:cubicBezTo>
                  <a:cubicBezTo>
                    <a:pt x="1329690" y="1614436"/>
                    <a:pt x="1320165" y="1732546"/>
                    <a:pt x="1295400" y="1803031"/>
                  </a:cubicBezTo>
                  <a:cubicBezTo>
                    <a:pt x="1352550" y="1729688"/>
                    <a:pt x="1399222" y="1645868"/>
                    <a:pt x="1446847" y="1563001"/>
                  </a:cubicBezTo>
                  <a:cubicBezTo>
                    <a:pt x="1431845" y="1538712"/>
                    <a:pt x="1403985" y="1516030"/>
                    <a:pt x="1369695" y="1516254"/>
                  </a:cubicBezTo>
                  <a:close/>
                  <a:moveTo>
                    <a:pt x="1226820" y="1485848"/>
                  </a:moveTo>
                  <a:cubicBezTo>
                    <a:pt x="1205865" y="1483943"/>
                    <a:pt x="1187767" y="1510613"/>
                    <a:pt x="1159192" y="1499183"/>
                  </a:cubicBezTo>
                  <a:cubicBezTo>
                    <a:pt x="1152525" y="1506803"/>
                    <a:pt x="1146810" y="1514423"/>
                    <a:pt x="1140142" y="1521091"/>
                  </a:cubicBezTo>
                  <a:cubicBezTo>
                    <a:pt x="1202055" y="1596338"/>
                    <a:pt x="1230630" y="1703018"/>
                    <a:pt x="1278255" y="1789696"/>
                  </a:cubicBezTo>
                  <a:cubicBezTo>
                    <a:pt x="1303972" y="1704923"/>
                    <a:pt x="1301115" y="1612531"/>
                    <a:pt x="1306830" y="1520138"/>
                  </a:cubicBezTo>
                  <a:cubicBezTo>
                    <a:pt x="1271587" y="1522996"/>
                    <a:pt x="1251585" y="1488706"/>
                    <a:pt x="1226820" y="1485848"/>
                  </a:cubicBezTo>
                  <a:close/>
                  <a:moveTo>
                    <a:pt x="1185423" y="1384429"/>
                  </a:moveTo>
                  <a:cubicBezTo>
                    <a:pt x="1177721" y="1385523"/>
                    <a:pt x="1168955" y="1388931"/>
                    <a:pt x="1159192" y="1395361"/>
                  </a:cubicBezTo>
                  <a:cubicBezTo>
                    <a:pt x="1156335" y="1421078"/>
                    <a:pt x="1163002" y="1429651"/>
                    <a:pt x="1167765" y="1459178"/>
                  </a:cubicBezTo>
                  <a:cubicBezTo>
                    <a:pt x="1241107" y="1482514"/>
                    <a:pt x="1239336" y="1376772"/>
                    <a:pt x="1185423" y="1384429"/>
                  </a:cubicBezTo>
                  <a:close/>
                  <a:moveTo>
                    <a:pt x="926782" y="1315351"/>
                  </a:moveTo>
                  <a:cubicBezTo>
                    <a:pt x="868680" y="1303921"/>
                    <a:pt x="873442" y="1394408"/>
                    <a:pt x="876300" y="1448701"/>
                  </a:cubicBezTo>
                  <a:cubicBezTo>
                    <a:pt x="878205" y="1491563"/>
                    <a:pt x="900112" y="1536331"/>
                    <a:pt x="909637" y="1564906"/>
                  </a:cubicBezTo>
                  <a:cubicBezTo>
                    <a:pt x="914400" y="1577288"/>
                    <a:pt x="915352" y="1591576"/>
                    <a:pt x="926782" y="1594433"/>
                  </a:cubicBezTo>
                  <a:cubicBezTo>
                    <a:pt x="946785" y="1599196"/>
                    <a:pt x="1012507" y="1572526"/>
                    <a:pt x="1031557" y="1562048"/>
                  </a:cubicBezTo>
                  <a:cubicBezTo>
                    <a:pt x="1071562" y="1540141"/>
                    <a:pt x="1102995" y="1505851"/>
                    <a:pt x="1136332" y="1482991"/>
                  </a:cubicBezTo>
                  <a:cubicBezTo>
                    <a:pt x="1136332" y="1472513"/>
                    <a:pt x="1137285" y="1461083"/>
                    <a:pt x="1137285" y="1449653"/>
                  </a:cubicBezTo>
                  <a:cubicBezTo>
                    <a:pt x="1117282" y="1439176"/>
                    <a:pt x="1093470" y="1431556"/>
                    <a:pt x="1063942" y="1430603"/>
                  </a:cubicBezTo>
                  <a:cubicBezTo>
                    <a:pt x="1083945" y="1421078"/>
                    <a:pt x="1114425" y="1421078"/>
                    <a:pt x="1132522" y="1408696"/>
                  </a:cubicBezTo>
                  <a:cubicBezTo>
                    <a:pt x="1133475" y="1403933"/>
                    <a:pt x="1133475" y="1400123"/>
                    <a:pt x="1133475" y="1395361"/>
                  </a:cubicBezTo>
                  <a:cubicBezTo>
                    <a:pt x="1100137" y="1392503"/>
                    <a:pt x="1087755" y="1377263"/>
                    <a:pt x="1064895" y="1365833"/>
                  </a:cubicBezTo>
                  <a:cubicBezTo>
                    <a:pt x="1027747" y="1345831"/>
                    <a:pt x="973455" y="1323923"/>
                    <a:pt x="926782" y="1315351"/>
                  </a:cubicBezTo>
                  <a:close/>
                  <a:moveTo>
                    <a:pt x="718185" y="1302016"/>
                  </a:moveTo>
                  <a:cubicBezTo>
                    <a:pt x="688657" y="1333448"/>
                    <a:pt x="802957" y="1374406"/>
                    <a:pt x="839152" y="1376311"/>
                  </a:cubicBezTo>
                  <a:cubicBezTo>
                    <a:pt x="839152" y="1357261"/>
                    <a:pt x="849630" y="1339163"/>
                    <a:pt x="847725" y="1324876"/>
                  </a:cubicBezTo>
                  <a:cubicBezTo>
                    <a:pt x="804862" y="1317256"/>
                    <a:pt x="747712" y="1322018"/>
                    <a:pt x="718185" y="1302016"/>
                  </a:cubicBezTo>
                  <a:close/>
                  <a:moveTo>
                    <a:pt x="1359262" y="1301435"/>
                  </a:moveTo>
                  <a:cubicBezTo>
                    <a:pt x="1317247" y="1313088"/>
                    <a:pt x="1267063" y="1359165"/>
                    <a:pt x="1242060" y="1367738"/>
                  </a:cubicBezTo>
                  <a:cubicBezTo>
                    <a:pt x="1245870" y="1378216"/>
                    <a:pt x="1252537" y="1386788"/>
                    <a:pt x="1252537" y="1400123"/>
                  </a:cubicBezTo>
                  <a:cubicBezTo>
                    <a:pt x="1272540" y="1395361"/>
                    <a:pt x="1296352" y="1398218"/>
                    <a:pt x="1313497" y="1406791"/>
                  </a:cubicBezTo>
                  <a:cubicBezTo>
                    <a:pt x="1294447" y="1408696"/>
                    <a:pt x="1272540" y="1408696"/>
                    <a:pt x="1259205" y="1418221"/>
                  </a:cubicBezTo>
                  <a:cubicBezTo>
                    <a:pt x="1254442" y="1431556"/>
                    <a:pt x="1260157" y="1450606"/>
                    <a:pt x="1257300" y="1469656"/>
                  </a:cubicBezTo>
                  <a:cubicBezTo>
                    <a:pt x="1303972" y="1482991"/>
                    <a:pt x="1357312" y="1489658"/>
                    <a:pt x="1416367" y="1491563"/>
                  </a:cubicBezTo>
                  <a:cubicBezTo>
                    <a:pt x="1427797" y="1476323"/>
                    <a:pt x="1431607" y="1448701"/>
                    <a:pt x="1428750" y="1420126"/>
                  </a:cubicBezTo>
                  <a:cubicBezTo>
                    <a:pt x="1426845" y="1385836"/>
                    <a:pt x="1418272" y="1316303"/>
                    <a:pt x="1397317" y="1303921"/>
                  </a:cubicBezTo>
                  <a:cubicBezTo>
                    <a:pt x="1386363" y="1297491"/>
                    <a:pt x="1373266" y="1297551"/>
                    <a:pt x="1359262" y="1301435"/>
                  </a:cubicBezTo>
                  <a:close/>
                  <a:moveTo>
                    <a:pt x="1274445" y="1301063"/>
                  </a:moveTo>
                  <a:cubicBezTo>
                    <a:pt x="1218247" y="1305826"/>
                    <a:pt x="1145857" y="1341068"/>
                    <a:pt x="1089660" y="1316303"/>
                  </a:cubicBezTo>
                  <a:cubicBezTo>
                    <a:pt x="1089660" y="1320113"/>
                    <a:pt x="1085850" y="1318208"/>
                    <a:pt x="1084897" y="1321066"/>
                  </a:cubicBezTo>
                  <a:cubicBezTo>
                    <a:pt x="1122997" y="1351546"/>
                    <a:pt x="1152525" y="1358213"/>
                    <a:pt x="1204912" y="1355356"/>
                  </a:cubicBezTo>
                  <a:cubicBezTo>
                    <a:pt x="1228725" y="1338211"/>
                    <a:pt x="1249680" y="1317256"/>
                    <a:pt x="1274445" y="1301063"/>
                  </a:cubicBezTo>
                  <a:close/>
                  <a:moveTo>
                    <a:pt x="585787" y="1245818"/>
                  </a:moveTo>
                  <a:cubicBezTo>
                    <a:pt x="469582" y="1291538"/>
                    <a:pt x="361950" y="1370596"/>
                    <a:pt x="264795" y="1444891"/>
                  </a:cubicBezTo>
                  <a:cubicBezTo>
                    <a:pt x="357187" y="1643011"/>
                    <a:pt x="394335" y="1885898"/>
                    <a:pt x="401002" y="2119261"/>
                  </a:cubicBezTo>
                  <a:cubicBezTo>
                    <a:pt x="506730" y="2168791"/>
                    <a:pt x="599122" y="2240228"/>
                    <a:pt x="741045" y="2245943"/>
                  </a:cubicBezTo>
                  <a:cubicBezTo>
                    <a:pt x="724852" y="2128786"/>
                    <a:pt x="709612" y="2024011"/>
                    <a:pt x="700087" y="1913521"/>
                  </a:cubicBezTo>
                  <a:cubicBezTo>
                    <a:pt x="664845" y="1898281"/>
                    <a:pt x="612457" y="1914473"/>
                    <a:pt x="579120" y="1908758"/>
                  </a:cubicBezTo>
                  <a:cubicBezTo>
                    <a:pt x="579120" y="1868753"/>
                    <a:pt x="630555" y="1891613"/>
                    <a:pt x="635317" y="1863991"/>
                  </a:cubicBezTo>
                  <a:cubicBezTo>
                    <a:pt x="638175" y="1843036"/>
                    <a:pt x="606742" y="1841131"/>
                    <a:pt x="617220" y="1808746"/>
                  </a:cubicBezTo>
                  <a:cubicBezTo>
                    <a:pt x="643890" y="1818271"/>
                    <a:pt x="657225" y="1840178"/>
                    <a:pt x="685800" y="1847798"/>
                  </a:cubicBezTo>
                  <a:cubicBezTo>
                    <a:pt x="711517" y="1791601"/>
                    <a:pt x="685800" y="1691588"/>
                    <a:pt x="689610" y="1644916"/>
                  </a:cubicBezTo>
                  <a:cubicBezTo>
                    <a:pt x="689610" y="1636343"/>
                    <a:pt x="693420" y="1596338"/>
                    <a:pt x="713422" y="1603006"/>
                  </a:cubicBezTo>
                  <a:cubicBezTo>
                    <a:pt x="730567" y="1609673"/>
                    <a:pt x="712470" y="1709686"/>
                    <a:pt x="714375" y="1754453"/>
                  </a:cubicBezTo>
                  <a:cubicBezTo>
                    <a:pt x="716280" y="1795411"/>
                    <a:pt x="709612" y="1835416"/>
                    <a:pt x="725805" y="1861133"/>
                  </a:cubicBezTo>
                  <a:cubicBezTo>
                    <a:pt x="864870" y="1842083"/>
                    <a:pt x="1005840" y="1829701"/>
                    <a:pt x="1155382" y="1825891"/>
                  </a:cubicBezTo>
                  <a:cubicBezTo>
                    <a:pt x="1122045" y="1811603"/>
                    <a:pt x="1082992" y="1798268"/>
                    <a:pt x="1040130" y="1774456"/>
                  </a:cubicBezTo>
                  <a:cubicBezTo>
                    <a:pt x="1016317" y="1761121"/>
                    <a:pt x="942975" y="1733498"/>
                    <a:pt x="936307" y="1711591"/>
                  </a:cubicBezTo>
                  <a:cubicBezTo>
                    <a:pt x="925830" y="1676348"/>
                    <a:pt x="964882" y="1658251"/>
                    <a:pt x="971550" y="1627771"/>
                  </a:cubicBezTo>
                  <a:cubicBezTo>
                    <a:pt x="902017" y="1665871"/>
                    <a:pt x="887730" y="1591576"/>
                    <a:pt x="871537" y="1538236"/>
                  </a:cubicBezTo>
                  <a:cubicBezTo>
                    <a:pt x="856297" y="1490611"/>
                    <a:pt x="847725" y="1454416"/>
                    <a:pt x="843915" y="1426793"/>
                  </a:cubicBezTo>
                  <a:cubicBezTo>
                    <a:pt x="783907" y="1398218"/>
                    <a:pt x="719137" y="1369643"/>
                    <a:pt x="667702" y="1332496"/>
                  </a:cubicBezTo>
                  <a:cubicBezTo>
                    <a:pt x="658177" y="1325828"/>
                    <a:pt x="594360" y="1242008"/>
                    <a:pt x="585787" y="1245818"/>
                  </a:cubicBezTo>
                  <a:close/>
                  <a:moveTo>
                    <a:pt x="1434465" y="1194383"/>
                  </a:moveTo>
                  <a:cubicBezTo>
                    <a:pt x="1417320" y="1219148"/>
                    <a:pt x="1382077" y="1235341"/>
                    <a:pt x="1368742" y="1255343"/>
                  </a:cubicBezTo>
                  <a:cubicBezTo>
                    <a:pt x="1464945" y="1208671"/>
                    <a:pt x="1483042" y="1430603"/>
                    <a:pt x="1444942" y="1502041"/>
                  </a:cubicBezTo>
                  <a:cubicBezTo>
                    <a:pt x="1450657" y="1522996"/>
                    <a:pt x="1470660" y="1531568"/>
                    <a:pt x="1479232" y="1550618"/>
                  </a:cubicBezTo>
                  <a:cubicBezTo>
                    <a:pt x="1424940" y="1646821"/>
                    <a:pt x="1365885" y="1737308"/>
                    <a:pt x="1310640" y="1832558"/>
                  </a:cubicBezTo>
                  <a:cubicBezTo>
                    <a:pt x="1351597" y="1806841"/>
                    <a:pt x="1409700" y="1827796"/>
                    <a:pt x="1456372" y="1807793"/>
                  </a:cubicBezTo>
                  <a:cubicBezTo>
                    <a:pt x="1474470" y="1801126"/>
                    <a:pt x="1486852" y="1761121"/>
                    <a:pt x="1500187" y="1728736"/>
                  </a:cubicBezTo>
                  <a:cubicBezTo>
                    <a:pt x="1537335" y="1640153"/>
                    <a:pt x="1575435" y="1528711"/>
                    <a:pt x="1592580" y="1443938"/>
                  </a:cubicBezTo>
                  <a:cubicBezTo>
                    <a:pt x="1596390" y="1424888"/>
                    <a:pt x="1606867" y="1382978"/>
                    <a:pt x="1604962" y="1365833"/>
                  </a:cubicBezTo>
                  <a:cubicBezTo>
                    <a:pt x="1601152" y="1335353"/>
                    <a:pt x="1559242" y="1312493"/>
                    <a:pt x="1538287" y="1293443"/>
                  </a:cubicBezTo>
                  <a:cubicBezTo>
                    <a:pt x="1500187" y="1258201"/>
                    <a:pt x="1475422" y="1226768"/>
                    <a:pt x="1434465" y="1194383"/>
                  </a:cubicBezTo>
                  <a:close/>
                  <a:moveTo>
                    <a:pt x="1035367" y="998168"/>
                  </a:moveTo>
                  <a:cubicBezTo>
                    <a:pt x="1076325" y="1101038"/>
                    <a:pt x="1218247" y="1089608"/>
                    <a:pt x="1337309" y="1086750"/>
                  </a:cubicBezTo>
                  <a:cubicBezTo>
                    <a:pt x="1332547" y="1100085"/>
                    <a:pt x="1321117" y="1116278"/>
                    <a:pt x="1306829" y="1121993"/>
                  </a:cubicBezTo>
                  <a:cubicBezTo>
                    <a:pt x="1268729" y="1137233"/>
                    <a:pt x="1163002" y="1149615"/>
                    <a:pt x="1109662" y="1121040"/>
                  </a:cubicBezTo>
                  <a:cubicBezTo>
                    <a:pt x="1076325" y="1102943"/>
                    <a:pt x="1054417" y="1062938"/>
                    <a:pt x="1036320" y="1039125"/>
                  </a:cubicBezTo>
                  <a:cubicBezTo>
                    <a:pt x="1026795" y="1027695"/>
                    <a:pt x="982979" y="998168"/>
                    <a:pt x="1035367" y="998168"/>
                  </a:cubicBezTo>
                  <a:close/>
                  <a:moveTo>
                    <a:pt x="1045845" y="940066"/>
                  </a:moveTo>
                  <a:cubicBezTo>
                    <a:pt x="1105852" y="971498"/>
                    <a:pt x="1215390" y="974356"/>
                    <a:pt x="1296352" y="972451"/>
                  </a:cubicBezTo>
                  <a:cubicBezTo>
                    <a:pt x="1301115" y="989596"/>
                    <a:pt x="1301115" y="1011503"/>
                    <a:pt x="1301115" y="1033411"/>
                  </a:cubicBezTo>
                  <a:cubicBezTo>
                    <a:pt x="1196340" y="1038173"/>
                    <a:pt x="1073467" y="1012456"/>
                    <a:pt x="1045845" y="940066"/>
                  </a:cubicBezTo>
                  <a:close/>
                  <a:moveTo>
                    <a:pt x="1494473" y="901013"/>
                  </a:moveTo>
                  <a:cubicBezTo>
                    <a:pt x="1462088" y="961020"/>
                    <a:pt x="1417320" y="1027695"/>
                    <a:pt x="1323975" y="1029600"/>
                  </a:cubicBezTo>
                  <a:cubicBezTo>
                    <a:pt x="1322070" y="1010550"/>
                    <a:pt x="1320165" y="980070"/>
                    <a:pt x="1323975" y="968640"/>
                  </a:cubicBezTo>
                  <a:cubicBezTo>
                    <a:pt x="1395413" y="961973"/>
                    <a:pt x="1440180" y="925778"/>
                    <a:pt x="1494473" y="901013"/>
                  </a:cubicBezTo>
                  <a:close/>
                  <a:moveTo>
                    <a:pt x="470458" y="689181"/>
                  </a:moveTo>
                  <a:cubicBezTo>
                    <a:pt x="513665" y="689841"/>
                    <a:pt x="563522" y="738731"/>
                    <a:pt x="548640" y="809573"/>
                  </a:cubicBezTo>
                  <a:cubicBezTo>
                    <a:pt x="527685" y="797191"/>
                    <a:pt x="521970" y="743851"/>
                    <a:pt x="497205" y="741946"/>
                  </a:cubicBezTo>
                  <a:cubicBezTo>
                    <a:pt x="461010" y="739088"/>
                    <a:pt x="467677" y="811478"/>
                    <a:pt x="467677" y="853388"/>
                  </a:cubicBezTo>
                  <a:cubicBezTo>
                    <a:pt x="442912" y="831481"/>
                    <a:pt x="439102" y="761948"/>
                    <a:pt x="457200" y="726706"/>
                  </a:cubicBezTo>
                  <a:cubicBezTo>
                    <a:pt x="436245" y="717181"/>
                    <a:pt x="426720" y="738136"/>
                    <a:pt x="415290" y="745756"/>
                  </a:cubicBezTo>
                  <a:cubicBezTo>
                    <a:pt x="421005" y="705751"/>
                    <a:pt x="444535" y="688784"/>
                    <a:pt x="470458" y="689181"/>
                  </a:cubicBezTo>
                  <a:close/>
                  <a:moveTo>
                    <a:pt x="1596390" y="633361"/>
                  </a:moveTo>
                  <a:cubicBezTo>
                    <a:pt x="1595437" y="742898"/>
                    <a:pt x="1579245" y="853388"/>
                    <a:pt x="1552575" y="948638"/>
                  </a:cubicBezTo>
                  <a:cubicBezTo>
                    <a:pt x="1544955" y="976261"/>
                    <a:pt x="1533525" y="1017218"/>
                    <a:pt x="1517332" y="1050556"/>
                  </a:cubicBezTo>
                  <a:cubicBezTo>
                    <a:pt x="1505902" y="1073416"/>
                    <a:pt x="1471612" y="1120088"/>
                    <a:pt x="1475422" y="1141043"/>
                  </a:cubicBezTo>
                  <a:cubicBezTo>
                    <a:pt x="1479232" y="1162951"/>
                    <a:pt x="1554480" y="1220101"/>
                    <a:pt x="1570672" y="1235341"/>
                  </a:cubicBezTo>
                  <a:cubicBezTo>
                    <a:pt x="1600200" y="1262963"/>
                    <a:pt x="1654492" y="1300111"/>
                    <a:pt x="1659255" y="1335353"/>
                  </a:cubicBezTo>
                  <a:cubicBezTo>
                    <a:pt x="1664017" y="1372501"/>
                    <a:pt x="1642110" y="1423936"/>
                    <a:pt x="1631632" y="1460131"/>
                  </a:cubicBezTo>
                  <a:cubicBezTo>
                    <a:pt x="1595437" y="1581098"/>
                    <a:pt x="1560195" y="1692541"/>
                    <a:pt x="1519237" y="1800173"/>
                  </a:cubicBezTo>
                  <a:cubicBezTo>
                    <a:pt x="1568767" y="1775408"/>
                    <a:pt x="1643062" y="1741118"/>
                    <a:pt x="1706880" y="1739213"/>
                  </a:cubicBezTo>
                  <a:cubicBezTo>
                    <a:pt x="1792605" y="1600148"/>
                    <a:pt x="1842135" y="1435366"/>
                    <a:pt x="1842135" y="1258201"/>
                  </a:cubicBezTo>
                  <a:cubicBezTo>
                    <a:pt x="1842135" y="1015313"/>
                    <a:pt x="1748790" y="794333"/>
                    <a:pt x="1596390" y="633361"/>
                  </a:cubicBezTo>
                  <a:close/>
                  <a:moveTo>
                    <a:pt x="358140" y="579068"/>
                  </a:moveTo>
                  <a:cubicBezTo>
                    <a:pt x="344805" y="590498"/>
                    <a:pt x="331470" y="602881"/>
                    <a:pt x="319087" y="616216"/>
                  </a:cubicBezTo>
                  <a:cubicBezTo>
                    <a:pt x="157162" y="780046"/>
                    <a:pt x="57150" y="1006741"/>
                    <a:pt x="57150" y="1258201"/>
                  </a:cubicBezTo>
                  <a:cubicBezTo>
                    <a:pt x="57150" y="1508708"/>
                    <a:pt x="157162" y="1736356"/>
                    <a:pt x="319087" y="1900186"/>
                  </a:cubicBezTo>
                  <a:cubicBezTo>
                    <a:pt x="324802" y="1905901"/>
                    <a:pt x="330517" y="1911616"/>
                    <a:pt x="337185" y="1919236"/>
                  </a:cubicBezTo>
                  <a:cubicBezTo>
                    <a:pt x="331470" y="1857323"/>
                    <a:pt x="321945" y="1795411"/>
                    <a:pt x="305752" y="1731593"/>
                  </a:cubicBezTo>
                  <a:cubicBezTo>
                    <a:pt x="293370" y="1681111"/>
                    <a:pt x="270510" y="1637296"/>
                    <a:pt x="255270" y="1589671"/>
                  </a:cubicBezTo>
                  <a:cubicBezTo>
                    <a:pt x="240030" y="1544903"/>
                    <a:pt x="215265" y="1490611"/>
                    <a:pt x="208597" y="1445843"/>
                  </a:cubicBezTo>
                  <a:cubicBezTo>
                    <a:pt x="199072" y="1380121"/>
                    <a:pt x="260032" y="1376311"/>
                    <a:pt x="300037" y="1347736"/>
                  </a:cubicBezTo>
                  <a:cubicBezTo>
                    <a:pt x="360997" y="1302968"/>
                    <a:pt x="409575" y="1279156"/>
                    <a:pt x="475297" y="1239151"/>
                  </a:cubicBezTo>
                  <a:cubicBezTo>
                    <a:pt x="495300" y="1227721"/>
                    <a:pt x="554355" y="1197241"/>
                    <a:pt x="561022" y="1183906"/>
                  </a:cubicBezTo>
                  <a:cubicBezTo>
                    <a:pt x="574357" y="1157236"/>
                    <a:pt x="538162" y="1118183"/>
                    <a:pt x="528637" y="1097228"/>
                  </a:cubicBezTo>
                  <a:cubicBezTo>
                    <a:pt x="513397" y="1063891"/>
                    <a:pt x="504825" y="1035316"/>
                    <a:pt x="502920" y="1001978"/>
                  </a:cubicBezTo>
                  <a:cubicBezTo>
                    <a:pt x="447675" y="993406"/>
                    <a:pt x="405765" y="960068"/>
                    <a:pt x="380047" y="922921"/>
                  </a:cubicBezTo>
                  <a:cubicBezTo>
                    <a:pt x="337185" y="861008"/>
                    <a:pt x="308610" y="746708"/>
                    <a:pt x="344805" y="660031"/>
                  </a:cubicBezTo>
                  <a:cubicBezTo>
                    <a:pt x="347662" y="653363"/>
                    <a:pt x="361950" y="640028"/>
                    <a:pt x="363855" y="629551"/>
                  </a:cubicBezTo>
                  <a:cubicBezTo>
                    <a:pt x="366712" y="614311"/>
                    <a:pt x="361950" y="596213"/>
                    <a:pt x="358140" y="579068"/>
                  </a:cubicBezTo>
                  <a:close/>
                  <a:moveTo>
                    <a:pt x="1269757" y="513598"/>
                  </a:moveTo>
                  <a:cubicBezTo>
                    <a:pt x="1279267" y="518465"/>
                    <a:pt x="1280874" y="541683"/>
                    <a:pt x="1283018" y="546683"/>
                  </a:cubicBezTo>
                  <a:cubicBezTo>
                    <a:pt x="1310641" y="610501"/>
                    <a:pt x="1379221" y="692416"/>
                    <a:pt x="1429703" y="746708"/>
                  </a:cubicBezTo>
                  <a:cubicBezTo>
                    <a:pt x="1442085" y="760043"/>
                    <a:pt x="1463041" y="773378"/>
                    <a:pt x="1464946" y="781951"/>
                  </a:cubicBezTo>
                  <a:cubicBezTo>
                    <a:pt x="1471613" y="807668"/>
                    <a:pt x="1447800" y="839101"/>
                    <a:pt x="1450658" y="856246"/>
                  </a:cubicBezTo>
                  <a:cubicBezTo>
                    <a:pt x="1382078" y="900061"/>
                    <a:pt x="1305878" y="947686"/>
                    <a:pt x="1193483" y="936256"/>
                  </a:cubicBezTo>
                  <a:cubicBezTo>
                    <a:pt x="1169671" y="916253"/>
                    <a:pt x="1160146" y="869581"/>
                    <a:pt x="1183958" y="839101"/>
                  </a:cubicBezTo>
                  <a:cubicBezTo>
                    <a:pt x="1196340" y="860056"/>
                    <a:pt x="1188721" y="898156"/>
                    <a:pt x="1222058" y="903871"/>
                  </a:cubicBezTo>
                  <a:cubicBezTo>
                    <a:pt x="1284923" y="914348"/>
                    <a:pt x="1359218" y="864818"/>
                    <a:pt x="1404938" y="847673"/>
                  </a:cubicBezTo>
                  <a:cubicBezTo>
                    <a:pt x="1433513" y="800048"/>
                    <a:pt x="1403033" y="781951"/>
                    <a:pt x="1377316" y="751471"/>
                  </a:cubicBezTo>
                  <a:cubicBezTo>
                    <a:pt x="1324928" y="688606"/>
                    <a:pt x="1254443" y="610501"/>
                    <a:pt x="1257300" y="516203"/>
                  </a:cubicBezTo>
                  <a:cubicBezTo>
                    <a:pt x="1262539" y="512393"/>
                    <a:pt x="1266587" y="511976"/>
                    <a:pt x="1269757" y="513598"/>
                  </a:cubicBezTo>
                  <a:close/>
                  <a:moveTo>
                    <a:pt x="1051560" y="476198"/>
                  </a:moveTo>
                  <a:cubicBezTo>
                    <a:pt x="1072515" y="513345"/>
                    <a:pt x="1078230" y="552398"/>
                    <a:pt x="1107757" y="580973"/>
                  </a:cubicBezTo>
                  <a:cubicBezTo>
                    <a:pt x="1121092" y="594308"/>
                    <a:pt x="1145857" y="609548"/>
                    <a:pt x="1133475" y="644790"/>
                  </a:cubicBezTo>
                  <a:cubicBezTo>
                    <a:pt x="1130617" y="653363"/>
                    <a:pt x="1108710" y="671460"/>
                    <a:pt x="1096327" y="675270"/>
                  </a:cubicBezTo>
                  <a:cubicBezTo>
                    <a:pt x="1050607" y="688605"/>
                    <a:pt x="944880" y="678128"/>
                    <a:pt x="981075" y="621930"/>
                  </a:cubicBezTo>
                  <a:cubicBezTo>
                    <a:pt x="1019175" y="623835"/>
                    <a:pt x="1069657" y="645743"/>
                    <a:pt x="1097280" y="619073"/>
                  </a:cubicBezTo>
                  <a:cubicBezTo>
                    <a:pt x="1076325" y="583830"/>
                    <a:pt x="1037272" y="516203"/>
                    <a:pt x="1051560" y="476198"/>
                  </a:cubicBezTo>
                  <a:close/>
                  <a:moveTo>
                    <a:pt x="1466850" y="475246"/>
                  </a:moveTo>
                  <a:lnTo>
                    <a:pt x="1471612" y="475246"/>
                  </a:lnTo>
                  <a:cubicBezTo>
                    <a:pt x="1493520" y="520013"/>
                    <a:pt x="1511617" y="567638"/>
                    <a:pt x="1539240" y="606691"/>
                  </a:cubicBezTo>
                  <a:cubicBezTo>
                    <a:pt x="1521142" y="648601"/>
                    <a:pt x="1401127" y="686701"/>
                    <a:pt x="1403032" y="610501"/>
                  </a:cubicBezTo>
                  <a:cubicBezTo>
                    <a:pt x="1428750" y="599071"/>
                    <a:pt x="1473517" y="607643"/>
                    <a:pt x="1496377" y="593356"/>
                  </a:cubicBezTo>
                  <a:cubicBezTo>
                    <a:pt x="1483042" y="557161"/>
                    <a:pt x="1463992" y="526681"/>
                    <a:pt x="1466850" y="475246"/>
                  </a:cubicBezTo>
                  <a:close/>
                  <a:moveTo>
                    <a:pt x="620077" y="319036"/>
                  </a:moveTo>
                  <a:cubicBezTo>
                    <a:pt x="548640" y="323798"/>
                    <a:pt x="490537" y="353326"/>
                    <a:pt x="447675" y="399998"/>
                  </a:cubicBezTo>
                  <a:cubicBezTo>
                    <a:pt x="401002" y="450481"/>
                    <a:pt x="410527" y="544778"/>
                    <a:pt x="417195" y="613358"/>
                  </a:cubicBezTo>
                  <a:cubicBezTo>
                    <a:pt x="500062" y="560971"/>
                    <a:pt x="610552" y="618121"/>
                    <a:pt x="609600" y="706703"/>
                  </a:cubicBezTo>
                  <a:cubicBezTo>
                    <a:pt x="649605" y="705751"/>
                    <a:pt x="624840" y="657173"/>
                    <a:pt x="617220" y="625741"/>
                  </a:cubicBezTo>
                  <a:cubicBezTo>
                    <a:pt x="593407" y="522871"/>
                    <a:pt x="656272" y="412381"/>
                    <a:pt x="620077" y="319036"/>
                  </a:cubicBezTo>
                  <a:close/>
                  <a:moveTo>
                    <a:pt x="963930" y="312368"/>
                  </a:moveTo>
                  <a:cubicBezTo>
                    <a:pt x="988695" y="315226"/>
                    <a:pt x="1021080" y="338086"/>
                    <a:pt x="1002983" y="367613"/>
                  </a:cubicBezTo>
                  <a:cubicBezTo>
                    <a:pt x="907733" y="345706"/>
                    <a:pt x="860108" y="407618"/>
                    <a:pt x="831533" y="471436"/>
                  </a:cubicBezTo>
                  <a:cubicBezTo>
                    <a:pt x="805815" y="464768"/>
                    <a:pt x="815340" y="429526"/>
                    <a:pt x="822008" y="413333"/>
                  </a:cubicBezTo>
                  <a:cubicBezTo>
                    <a:pt x="839153" y="366661"/>
                    <a:pt x="907733" y="303796"/>
                    <a:pt x="963930" y="312368"/>
                  </a:cubicBezTo>
                  <a:close/>
                  <a:moveTo>
                    <a:pt x="776287" y="105676"/>
                  </a:moveTo>
                  <a:cubicBezTo>
                    <a:pt x="672465" y="135203"/>
                    <a:pt x="539115" y="211403"/>
                    <a:pt x="496252" y="305701"/>
                  </a:cubicBezTo>
                  <a:cubicBezTo>
                    <a:pt x="529590" y="300938"/>
                    <a:pt x="552450" y="283793"/>
                    <a:pt x="584835" y="281888"/>
                  </a:cubicBezTo>
                  <a:cubicBezTo>
                    <a:pt x="597217" y="280936"/>
                    <a:pt x="613410" y="287603"/>
                    <a:pt x="627697" y="283793"/>
                  </a:cubicBezTo>
                  <a:cubicBezTo>
                    <a:pt x="656272" y="276173"/>
                    <a:pt x="680085" y="213308"/>
                    <a:pt x="701040" y="189496"/>
                  </a:cubicBezTo>
                  <a:cubicBezTo>
                    <a:pt x="721995" y="165683"/>
                    <a:pt x="746760" y="156158"/>
                    <a:pt x="763905" y="135203"/>
                  </a:cubicBezTo>
                  <a:cubicBezTo>
                    <a:pt x="774382" y="129488"/>
                    <a:pt x="790575" y="129488"/>
                    <a:pt x="791527" y="113296"/>
                  </a:cubicBezTo>
                  <a:cubicBezTo>
                    <a:pt x="786765" y="107581"/>
                    <a:pt x="782002" y="103771"/>
                    <a:pt x="776287" y="105676"/>
                  </a:cubicBezTo>
                  <a:close/>
                  <a:moveTo>
                    <a:pt x="1009382" y="58824"/>
                  </a:moveTo>
                  <a:cubicBezTo>
                    <a:pt x="974348" y="61622"/>
                    <a:pt x="941308" y="69480"/>
                    <a:pt x="912495" y="83768"/>
                  </a:cubicBezTo>
                  <a:cubicBezTo>
                    <a:pt x="819150" y="130441"/>
                    <a:pt x="694372" y="206641"/>
                    <a:pt x="652462" y="303796"/>
                  </a:cubicBezTo>
                  <a:cubicBezTo>
                    <a:pt x="692467" y="397141"/>
                    <a:pt x="640080" y="482866"/>
                    <a:pt x="637222" y="578116"/>
                  </a:cubicBezTo>
                  <a:cubicBezTo>
                    <a:pt x="635317" y="628598"/>
                    <a:pt x="661035" y="672413"/>
                    <a:pt x="662940" y="727658"/>
                  </a:cubicBezTo>
                  <a:cubicBezTo>
                    <a:pt x="649605" y="750518"/>
                    <a:pt x="607695" y="753376"/>
                    <a:pt x="579120" y="751471"/>
                  </a:cubicBezTo>
                  <a:cubicBezTo>
                    <a:pt x="568642" y="702893"/>
                    <a:pt x="552450" y="648601"/>
                    <a:pt x="501967" y="642886"/>
                  </a:cubicBezTo>
                  <a:cubicBezTo>
                    <a:pt x="431482" y="635266"/>
                    <a:pt x="379095" y="694321"/>
                    <a:pt x="376237" y="755281"/>
                  </a:cubicBezTo>
                  <a:cubicBezTo>
                    <a:pt x="372427" y="827671"/>
                    <a:pt x="431482" y="947686"/>
                    <a:pt x="515302" y="939113"/>
                  </a:cubicBezTo>
                  <a:cubicBezTo>
                    <a:pt x="547687" y="936256"/>
                    <a:pt x="555307" y="903871"/>
                    <a:pt x="590550" y="903871"/>
                  </a:cubicBezTo>
                  <a:cubicBezTo>
                    <a:pt x="609600" y="941971"/>
                    <a:pt x="561022" y="953401"/>
                    <a:pt x="556260" y="981023"/>
                  </a:cubicBezTo>
                  <a:cubicBezTo>
                    <a:pt x="554355" y="987691"/>
                    <a:pt x="560070" y="1015313"/>
                    <a:pt x="562927" y="1028648"/>
                  </a:cubicBezTo>
                  <a:cubicBezTo>
                    <a:pt x="578167" y="1091513"/>
                    <a:pt x="612457" y="1173428"/>
                    <a:pt x="645795" y="1221053"/>
                  </a:cubicBezTo>
                  <a:cubicBezTo>
                    <a:pt x="687705" y="1282013"/>
                    <a:pt x="771525" y="1291538"/>
                    <a:pt x="861060" y="1297253"/>
                  </a:cubicBezTo>
                  <a:cubicBezTo>
                    <a:pt x="877252" y="1262963"/>
                    <a:pt x="936307" y="1265821"/>
                    <a:pt x="974407" y="1274393"/>
                  </a:cubicBezTo>
                  <a:cubicBezTo>
                    <a:pt x="927735" y="1256296"/>
                    <a:pt x="884872" y="1211528"/>
                    <a:pt x="849630" y="1172476"/>
                  </a:cubicBezTo>
                  <a:cubicBezTo>
                    <a:pt x="809625" y="1126756"/>
                    <a:pt x="767715" y="1079131"/>
                    <a:pt x="765810" y="1020076"/>
                  </a:cubicBezTo>
                  <a:cubicBezTo>
                    <a:pt x="842962" y="1126756"/>
                    <a:pt x="906780" y="1221053"/>
                    <a:pt x="1046797" y="1267726"/>
                  </a:cubicBezTo>
                  <a:cubicBezTo>
                    <a:pt x="1152525" y="1303921"/>
                    <a:pt x="1276350" y="1251533"/>
                    <a:pt x="1358265" y="1194383"/>
                  </a:cubicBezTo>
                  <a:cubicBezTo>
                    <a:pt x="1392555" y="1170571"/>
                    <a:pt x="1412557" y="1132471"/>
                    <a:pt x="1436370" y="1098181"/>
                  </a:cubicBezTo>
                  <a:cubicBezTo>
                    <a:pt x="1526857" y="968641"/>
                    <a:pt x="1568767" y="783856"/>
                    <a:pt x="1559242" y="604786"/>
                  </a:cubicBezTo>
                  <a:cubicBezTo>
                    <a:pt x="1555432" y="530491"/>
                    <a:pt x="1555432" y="457148"/>
                    <a:pt x="1530667" y="407618"/>
                  </a:cubicBezTo>
                  <a:cubicBezTo>
                    <a:pt x="1504950" y="355231"/>
                    <a:pt x="1417320" y="309511"/>
                    <a:pt x="1365885" y="356183"/>
                  </a:cubicBezTo>
                  <a:cubicBezTo>
                    <a:pt x="1356360" y="305701"/>
                    <a:pt x="1408747" y="274268"/>
                    <a:pt x="1469707" y="292366"/>
                  </a:cubicBezTo>
                  <a:cubicBezTo>
                    <a:pt x="1425892" y="236168"/>
                    <a:pt x="1380172" y="168541"/>
                    <a:pt x="1318260" y="133298"/>
                  </a:cubicBezTo>
                  <a:cubicBezTo>
                    <a:pt x="1237535" y="87578"/>
                    <a:pt x="1114484" y="50430"/>
                    <a:pt x="1009382" y="58824"/>
                  </a:cubicBezTo>
                  <a:close/>
                  <a:moveTo>
                    <a:pt x="1098589" y="2448"/>
                  </a:moveTo>
                  <a:cubicBezTo>
                    <a:pt x="1195625" y="10425"/>
                    <a:pt x="1289208" y="38048"/>
                    <a:pt x="1354455" y="87578"/>
                  </a:cubicBezTo>
                  <a:cubicBezTo>
                    <a:pt x="1410652" y="129488"/>
                    <a:pt x="1499235" y="219023"/>
                    <a:pt x="1531620" y="283793"/>
                  </a:cubicBezTo>
                  <a:cubicBezTo>
                    <a:pt x="1567815" y="356183"/>
                    <a:pt x="1587817" y="450481"/>
                    <a:pt x="1593532" y="549541"/>
                  </a:cubicBezTo>
                  <a:cubicBezTo>
                    <a:pt x="1603057" y="558113"/>
                    <a:pt x="1612582" y="566686"/>
                    <a:pt x="1621155" y="576211"/>
                  </a:cubicBezTo>
                  <a:cubicBezTo>
                    <a:pt x="1793557" y="750518"/>
                    <a:pt x="1899285" y="992453"/>
                    <a:pt x="1899285" y="1258201"/>
                  </a:cubicBezTo>
                  <a:cubicBezTo>
                    <a:pt x="1899285" y="1438223"/>
                    <a:pt x="1850707" y="1606816"/>
                    <a:pt x="1765935" y="1750643"/>
                  </a:cubicBezTo>
                  <a:cubicBezTo>
                    <a:pt x="1785937" y="1760168"/>
                    <a:pt x="1802130" y="1775408"/>
                    <a:pt x="1813560" y="1800173"/>
                  </a:cubicBezTo>
                  <a:cubicBezTo>
                    <a:pt x="1833562" y="1842083"/>
                    <a:pt x="1856422" y="1912568"/>
                    <a:pt x="1867852" y="1955431"/>
                  </a:cubicBezTo>
                  <a:cubicBezTo>
                    <a:pt x="1882140" y="2016391"/>
                    <a:pt x="1852612" y="2144026"/>
                    <a:pt x="1789747" y="2164028"/>
                  </a:cubicBezTo>
                  <a:cubicBezTo>
                    <a:pt x="1734502" y="2182126"/>
                    <a:pt x="1670685" y="2181173"/>
                    <a:pt x="1604010" y="2167838"/>
                  </a:cubicBezTo>
                  <a:cubicBezTo>
                    <a:pt x="1596390" y="2161171"/>
                    <a:pt x="1586865" y="2149741"/>
                    <a:pt x="1581150" y="2138311"/>
                  </a:cubicBezTo>
                  <a:cubicBezTo>
                    <a:pt x="1533525" y="2136406"/>
                    <a:pt x="1488757" y="2141168"/>
                    <a:pt x="1451610" y="2160218"/>
                  </a:cubicBezTo>
                  <a:cubicBezTo>
                    <a:pt x="1455420" y="2195461"/>
                    <a:pt x="1431607" y="2200223"/>
                    <a:pt x="1409700" y="2207843"/>
                  </a:cubicBezTo>
                  <a:cubicBezTo>
                    <a:pt x="1393507" y="2273566"/>
                    <a:pt x="1442085" y="2358338"/>
                    <a:pt x="1430655" y="2418346"/>
                  </a:cubicBezTo>
                  <a:cubicBezTo>
                    <a:pt x="1422082" y="2461208"/>
                    <a:pt x="1369695" y="2467876"/>
                    <a:pt x="1331595" y="2475496"/>
                  </a:cubicBezTo>
                  <a:cubicBezTo>
                    <a:pt x="1330642" y="2498356"/>
                    <a:pt x="1333500" y="2518358"/>
                    <a:pt x="1336357" y="2538361"/>
                  </a:cubicBezTo>
                  <a:cubicBezTo>
                    <a:pt x="1327785" y="2570746"/>
                    <a:pt x="1287780" y="2588843"/>
                    <a:pt x="1250632" y="2593606"/>
                  </a:cubicBezTo>
                  <a:cubicBezTo>
                    <a:pt x="1128712" y="2608846"/>
                    <a:pt x="942022" y="2615513"/>
                    <a:pt x="823912" y="2572651"/>
                  </a:cubicBezTo>
                  <a:cubicBezTo>
                    <a:pt x="790575" y="2491688"/>
                    <a:pt x="764857" y="2393581"/>
                    <a:pt x="737235" y="2301188"/>
                  </a:cubicBezTo>
                  <a:cubicBezTo>
                    <a:pt x="621982" y="2313571"/>
                    <a:pt x="528637" y="2251658"/>
                    <a:pt x="441007" y="2210701"/>
                  </a:cubicBezTo>
                  <a:cubicBezTo>
                    <a:pt x="410527" y="2197366"/>
                    <a:pt x="368617" y="2188793"/>
                    <a:pt x="357187" y="2164981"/>
                  </a:cubicBezTo>
                  <a:cubicBezTo>
                    <a:pt x="345757" y="2142121"/>
                    <a:pt x="350520" y="2097353"/>
                    <a:pt x="347662" y="2054491"/>
                  </a:cubicBezTo>
                  <a:cubicBezTo>
                    <a:pt x="345757" y="2036393"/>
                    <a:pt x="344805" y="2019248"/>
                    <a:pt x="343852" y="2001151"/>
                  </a:cubicBezTo>
                  <a:cubicBezTo>
                    <a:pt x="320992" y="1981148"/>
                    <a:pt x="299085" y="1961146"/>
                    <a:pt x="278130" y="1940191"/>
                  </a:cubicBezTo>
                  <a:cubicBezTo>
                    <a:pt x="106680" y="1765883"/>
                    <a:pt x="0" y="1523948"/>
                    <a:pt x="0" y="1258201"/>
                  </a:cubicBezTo>
                  <a:cubicBezTo>
                    <a:pt x="0" y="991501"/>
                    <a:pt x="106680" y="750518"/>
                    <a:pt x="278130" y="577163"/>
                  </a:cubicBezTo>
                  <a:cubicBezTo>
                    <a:pt x="302895" y="551446"/>
                    <a:pt x="328612" y="527633"/>
                    <a:pt x="356235" y="505726"/>
                  </a:cubicBezTo>
                  <a:cubicBezTo>
                    <a:pt x="360997" y="416191"/>
                    <a:pt x="386715" y="342848"/>
                    <a:pt x="450532" y="314273"/>
                  </a:cubicBezTo>
                  <a:cubicBezTo>
                    <a:pt x="481012" y="191401"/>
                    <a:pt x="591502" y="150443"/>
                    <a:pt x="695325" y="89483"/>
                  </a:cubicBezTo>
                  <a:cubicBezTo>
                    <a:pt x="734377" y="66623"/>
                    <a:pt x="777240" y="51383"/>
                    <a:pt x="822007" y="35191"/>
                  </a:cubicBezTo>
                  <a:cubicBezTo>
                    <a:pt x="901064" y="6139"/>
                    <a:pt x="1001553" y="-5529"/>
                    <a:pt x="1098589" y="2448"/>
                  </a:cubicBezTo>
                  <a:close/>
                </a:path>
              </a:pathLst>
            </a:custGeom>
            <a:solidFill>
              <a:srgbClr val="1D191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2" name="Rectangle 61">
              <a:extLst>
                <a:ext uri="{FF2B5EF4-FFF2-40B4-BE49-F238E27FC236}">
                  <a16:creationId xmlns:a16="http://schemas.microsoft.com/office/drawing/2014/main" id="{D5B4B7F6-0F4A-4BBE-8828-77C95BE402FE}"/>
                </a:ext>
              </a:extLst>
            </p:cNvPr>
            <p:cNvSpPr/>
            <p:nvPr/>
          </p:nvSpPr>
          <p:spPr>
            <a:xfrm>
              <a:off x="5227300" y="5634958"/>
              <a:ext cx="671980" cy="276999"/>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Jenkins</a:t>
              </a:r>
            </a:p>
          </p:txBody>
        </p:sp>
      </p:grpSp>
      <p:grpSp>
        <p:nvGrpSpPr>
          <p:cNvPr id="107" name="Group 106">
            <a:extLst>
              <a:ext uri="{FF2B5EF4-FFF2-40B4-BE49-F238E27FC236}">
                <a16:creationId xmlns:a16="http://schemas.microsoft.com/office/drawing/2014/main" id="{5283E5EB-1713-491C-BA7B-74AFFAF0B4C4}"/>
              </a:ext>
            </a:extLst>
          </p:cNvPr>
          <p:cNvGrpSpPr/>
          <p:nvPr/>
        </p:nvGrpSpPr>
        <p:grpSpPr>
          <a:xfrm>
            <a:off x="6726820" y="4830665"/>
            <a:ext cx="836960" cy="881000"/>
            <a:chOff x="6832258" y="4809013"/>
            <a:chExt cx="836960" cy="881000"/>
          </a:xfrm>
        </p:grpSpPr>
        <p:pic>
          <p:nvPicPr>
            <p:cNvPr id="1026" name="Picture 2" descr="Image result for terraform logo black png">
              <a:extLst>
                <a:ext uri="{FF2B5EF4-FFF2-40B4-BE49-F238E27FC236}">
                  <a16:creationId xmlns:a16="http://schemas.microsoft.com/office/drawing/2014/main" id="{605CC15D-D786-4CC8-857A-7C041707F5D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99278" y="4809013"/>
              <a:ext cx="502920" cy="564264"/>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13D53080-681A-4EBB-8C4C-B4704625176C}"/>
                </a:ext>
              </a:extLst>
            </p:cNvPr>
            <p:cNvSpPr/>
            <p:nvPr/>
          </p:nvSpPr>
          <p:spPr>
            <a:xfrm>
              <a:off x="6832258" y="5413014"/>
              <a:ext cx="836960" cy="276999"/>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Terraform</a:t>
              </a:r>
            </a:p>
          </p:txBody>
        </p:sp>
      </p:grpSp>
      <p:grpSp>
        <p:nvGrpSpPr>
          <p:cNvPr id="108" name="Group 107">
            <a:extLst>
              <a:ext uri="{FF2B5EF4-FFF2-40B4-BE49-F238E27FC236}">
                <a16:creationId xmlns:a16="http://schemas.microsoft.com/office/drawing/2014/main" id="{F4E6F4E0-7EB2-45BD-938E-AD1DB8505EE2}"/>
              </a:ext>
            </a:extLst>
          </p:cNvPr>
          <p:cNvGrpSpPr/>
          <p:nvPr/>
        </p:nvGrpSpPr>
        <p:grpSpPr>
          <a:xfrm>
            <a:off x="8387313" y="4861337"/>
            <a:ext cx="679994" cy="850328"/>
            <a:chOff x="8325537" y="4839685"/>
            <a:chExt cx="679994" cy="850328"/>
          </a:xfrm>
        </p:grpSpPr>
        <p:grpSp>
          <p:nvGrpSpPr>
            <p:cNvPr id="17" name="Group 16">
              <a:extLst>
                <a:ext uri="{FF2B5EF4-FFF2-40B4-BE49-F238E27FC236}">
                  <a16:creationId xmlns:a16="http://schemas.microsoft.com/office/drawing/2014/main" id="{4B01177B-3F3A-4162-A67E-3D67FF8E10C8}"/>
                </a:ext>
              </a:extLst>
            </p:cNvPr>
            <p:cNvGrpSpPr>
              <a:grpSpLocks noChangeAspect="1"/>
            </p:cNvGrpSpPr>
            <p:nvPr/>
          </p:nvGrpSpPr>
          <p:grpSpPr>
            <a:xfrm>
              <a:off x="8414074" y="4839685"/>
              <a:ext cx="502920" cy="502920"/>
              <a:chOff x="7920643" y="5224741"/>
              <a:chExt cx="790677" cy="790677"/>
            </a:xfrm>
          </p:grpSpPr>
          <p:sp>
            <p:nvSpPr>
              <p:cNvPr id="15" name="Freeform: Shape 14">
                <a:extLst>
                  <a:ext uri="{FF2B5EF4-FFF2-40B4-BE49-F238E27FC236}">
                    <a16:creationId xmlns:a16="http://schemas.microsoft.com/office/drawing/2014/main" id="{57ED884F-9442-4A72-B31B-E049A9003EF7}"/>
                  </a:ext>
                </a:extLst>
              </p:cNvPr>
              <p:cNvSpPr/>
              <p:nvPr/>
            </p:nvSpPr>
            <p:spPr>
              <a:xfrm>
                <a:off x="8269035" y="5465341"/>
                <a:ext cx="157518" cy="253264"/>
              </a:xfrm>
              <a:custGeom>
                <a:avLst/>
                <a:gdLst>
                  <a:gd name="connsiteX0" fmla="*/ 2316 w 157517"/>
                  <a:gd name="connsiteY0" fmla="*/ 132655 h 253263"/>
                  <a:gd name="connsiteX1" fmla="*/ 156437 w 157517"/>
                  <a:gd name="connsiteY1" fmla="*/ 254036 h 253263"/>
                  <a:gd name="connsiteX2" fmla="*/ 54513 w 157517"/>
                  <a:gd name="connsiteY2" fmla="*/ 2316 h 253263"/>
                </a:gdLst>
                <a:ahLst/>
                <a:cxnLst>
                  <a:cxn ang="0">
                    <a:pos x="connsiteX0" y="connsiteY0"/>
                  </a:cxn>
                  <a:cxn ang="0">
                    <a:pos x="connsiteX1" y="connsiteY1"/>
                  </a:cxn>
                  <a:cxn ang="0">
                    <a:pos x="connsiteX2" y="connsiteY2"/>
                  </a:cxn>
                </a:cxnLst>
                <a:rect l="l" t="t" r="r" b="b"/>
                <a:pathLst>
                  <a:path w="157517" h="253263">
                    <a:moveTo>
                      <a:pt x="2316" y="132655"/>
                    </a:moveTo>
                    <a:lnTo>
                      <a:pt x="156437" y="254036"/>
                    </a:lnTo>
                    <a:lnTo>
                      <a:pt x="54513" y="2316"/>
                    </a:lnTo>
                    <a:close/>
                  </a:path>
                </a:pathLst>
              </a:custGeom>
              <a:solidFill>
                <a:srgbClr val="000000"/>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DA234842-84D8-4380-8872-E568F6D56198}"/>
                  </a:ext>
                </a:extLst>
              </p:cNvPr>
              <p:cNvSpPr/>
              <p:nvPr/>
            </p:nvSpPr>
            <p:spPr>
              <a:xfrm>
                <a:off x="7920643" y="5224741"/>
                <a:ext cx="790677" cy="790677"/>
              </a:xfrm>
              <a:custGeom>
                <a:avLst/>
                <a:gdLst>
                  <a:gd name="connsiteX0" fmla="*/ 396111 w 790677"/>
                  <a:gd name="connsiteY0" fmla="*/ 2316 h 790677"/>
                  <a:gd name="connsiteX1" fmla="*/ 2316 w 790677"/>
                  <a:gd name="connsiteY1" fmla="*/ 396420 h 790677"/>
                  <a:gd name="connsiteX2" fmla="*/ 396111 w 790677"/>
                  <a:gd name="connsiteY2" fmla="*/ 790214 h 790677"/>
                  <a:gd name="connsiteX3" fmla="*/ 790214 w 790677"/>
                  <a:gd name="connsiteY3" fmla="*/ 396111 h 790677"/>
                  <a:gd name="connsiteX4" fmla="*/ 396111 w 790677"/>
                  <a:gd name="connsiteY4" fmla="*/ 2316 h 790677"/>
                  <a:gd name="connsiteX5" fmla="*/ 557952 w 790677"/>
                  <a:gd name="connsiteY5" fmla="*/ 592236 h 790677"/>
                  <a:gd name="connsiteX6" fmla="*/ 536332 w 790677"/>
                  <a:gd name="connsiteY6" fmla="*/ 582661 h 790677"/>
                  <a:gd name="connsiteX7" fmla="*/ 333104 w 790677"/>
                  <a:gd name="connsiteY7" fmla="*/ 418349 h 790677"/>
                  <a:gd name="connsiteX8" fmla="*/ 264537 w 790677"/>
                  <a:gd name="connsiteY8" fmla="*/ 589147 h 790677"/>
                  <a:gd name="connsiteX9" fmla="*/ 205854 w 790677"/>
                  <a:gd name="connsiteY9" fmla="*/ 589147 h 790677"/>
                  <a:gd name="connsiteX10" fmla="*/ 377888 w 790677"/>
                  <a:gd name="connsiteY10" fmla="*/ 175277 h 790677"/>
                  <a:gd name="connsiteX11" fmla="*/ 402906 w 790677"/>
                  <a:gd name="connsiteY11" fmla="*/ 158599 h 790677"/>
                  <a:gd name="connsiteX12" fmla="*/ 427305 w 790677"/>
                  <a:gd name="connsiteY12" fmla="*/ 175277 h 790677"/>
                  <a:gd name="connsiteX13" fmla="*/ 584205 w 790677"/>
                  <a:gd name="connsiteY13" fmla="*/ 552702 h 790677"/>
                  <a:gd name="connsiteX14" fmla="*/ 586985 w 790677"/>
                  <a:gd name="connsiteY14" fmla="*/ 564439 h 790677"/>
                  <a:gd name="connsiteX15" fmla="*/ 557952 w 790677"/>
                  <a:gd name="connsiteY15" fmla="*/ 592236 h 79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0677" h="790677">
                    <a:moveTo>
                      <a:pt x="396111" y="2316"/>
                    </a:moveTo>
                    <a:cubicBezTo>
                      <a:pt x="178674" y="2316"/>
                      <a:pt x="2316" y="178675"/>
                      <a:pt x="2316" y="396420"/>
                    </a:cubicBezTo>
                    <a:cubicBezTo>
                      <a:pt x="2316" y="613856"/>
                      <a:pt x="178674" y="790214"/>
                      <a:pt x="396111" y="790214"/>
                    </a:cubicBezTo>
                    <a:cubicBezTo>
                      <a:pt x="613856" y="790214"/>
                      <a:pt x="790214" y="613856"/>
                      <a:pt x="790214" y="396111"/>
                    </a:cubicBezTo>
                    <a:cubicBezTo>
                      <a:pt x="790214" y="178675"/>
                      <a:pt x="613856" y="2316"/>
                      <a:pt x="396111" y="2316"/>
                    </a:cubicBezTo>
                    <a:close/>
                    <a:moveTo>
                      <a:pt x="557952" y="592236"/>
                    </a:moveTo>
                    <a:cubicBezTo>
                      <a:pt x="550231" y="592236"/>
                      <a:pt x="544363" y="589147"/>
                      <a:pt x="536332" y="582661"/>
                    </a:cubicBezTo>
                    <a:lnTo>
                      <a:pt x="333104" y="418349"/>
                    </a:lnTo>
                    <a:lnTo>
                      <a:pt x="264537" y="589147"/>
                    </a:lnTo>
                    <a:lnTo>
                      <a:pt x="205854" y="589147"/>
                    </a:lnTo>
                    <a:lnTo>
                      <a:pt x="377888" y="175277"/>
                    </a:lnTo>
                    <a:cubicBezTo>
                      <a:pt x="382212" y="164467"/>
                      <a:pt x="392095" y="158599"/>
                      <a:pt x="402906" y="158599"/>
                    </a:cubicBezTo>
                    <a:cubicBezTo>
                      <a:pt x="413716" y="158599"/>
                      <a:pt x="422672" y="164467"/>
                      <a:pt x="427305" y="175277"/>
                    </a:cubicBezTo>
                    <a:lnTo>
                      <a:pt x="584205" y="552702"/>
                    </a:lnTo>
                    <a:cubicBezTo>
                      <a:pt x="586058" y="557335"/>
                      <a:pt x="586985" y="561659"/>
                      <a:pt x="586985" y="564439"/>
                    </a:cubicBezTo>
                    <a:cubicBezTo>
                      <a:pt x="586676" y="580808"/>
                      <a:pt x="573395" y="592236"/>
                      <a:pt x="557952" y="592236"/>
                    </a:cubicBezTo>
                    <a:close/>
                  </a:path>
                </a:pathLst>
              </a:custGeom>
              <a:solidFill>
                <a:srgbClr val="000000"/>
              </a:solidFill>
              <a:ln w="9525" cap="flat">
                <a:noFill/>
                <a:prstDash val="solid"/>
                <a:miter/>
              </a:ln>
            </p:spPr>
            <p:txBody>
              <a:bodyPr rtlCol="0" anchor="ctr"/>
              <a:lstStyle/>
              <a:p>
                <a:endParaRPr lang="en-US"/>
              </a:p>
            </p:txBody>
          </p:sp>
        </p:grpSp>
        <p:sp>
          <p:nvSpPr>
            <p:cNvPr id="64" name="Rectangle 63">
              <a:extLst>
                <a:ext uri="{FF2B5EF4-FFF2-40B4-BE49-F238E27FC236}">
                  <a16:creationId xmlns:a16="http://schemas.microsoft.com/office/drawing/2014/main" id="{F0E85C16-CB75-4729-933F-007AFCC5F48B}"/>
                </a:ext>
              </a:extLst>
            </p:cNvPr>
            <p:cNvSpPr/>
            <p:nvPr/>
          </p:nvSpPr>
          <p:spPr>
            <a:xfrm>
              <a:off x="8325537" y="5413014"/>
              <a:ext cx="679994" cy="276999"/>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Ansible</a:t>
              </a:r>
            </a:p>
          </p:txBody>
        </p:sp>
      </p:grpSp>
      <p:grpSp>
        <p:nvGrpSpPr>
          <p:cNvPr id="118" name="Group 117">
            <a:extLst>
              <a:ext uri="{FF2B5EF4-FFF2-40B4-BE49-F238E27FC236}">
                <a16:creationId xmlns:a16="http://schemas.microsoft.com/office/drawing/2014/main" id="{4E969957-E301-4E2A-A895-D96DA95F5962}"/>
              </a:ext>
            </a:extLst>
          </p:cNvPr>
          <p:cNvGrpSpPr/>
          <p:nvPr/>
        </p:nvGrpSpPr>
        <p:grpSpPr>
          <a:xfrm>
            <a:off x="9898053" y="4985546"/>
            <a:ext cx="822533" cy="726119"/>
            <a:chOff x="9898053" y="5185838"/>
            <a:chExt cx="822533" cy="726119"/>
          </a:xfrm>
        </p:grpSpPr>
        <p:sp>
          <p:nvSpPr>
            <p:cNvPr id="65" name="Rectangle 64">
              <a:extLst>
                <a:ext uri="{FF2B5EF4-FFF2-40B4-BE49-F238E27FC236}">
                  <a16:creationId xmlns:a16="http://schemas.microsoft.com/office/drawing/2014/main" id="{855FF9A2-D343-4D37-B925-E02FEFAB0FC1}"/>
                </a:ext>
              </a:extLst>
            </p:cNvPr>
            <p:cNvSpPr/>
            <p:nvPr/>
          </p:nvSpPr>
          <p:spPr>
            <a:xfrm>
              <a:off x="9898053" y="5634958"/>
              <a:ext cx="822533" cy="276999"/>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ELK Stack</a:t>
              </a:r>
            </a:p>
          </p:txBody>
        </p:sp>
        <p:grpSp>
          <p:nvGrpSpPr>
            <p:cNvPr id="82" name="Group 26">
              <a:extLst>
                <a:ext uri="{FF2B5EF4-FFF2-40B4-BE49-F238E27FC236}">
                  <a16:creationId xmlns:a16="http://schemas.microsoft.com/office/drawing/2014/main" id="{5D190F92-8C21-4A65-AAAB-17CE481F889F}"/>
                </a:ext>
              </a:extLst>
            </p:cNvPr>
            <p:cNvGrpSpPr>
              <a:grpSpLocks noChangeAspect="1"/>
            </p:cNvGrpSpPr>
            <p:nvPr/>
          </p:nvGrpSpPr>
          <p:grpSpPr bwMode="auto">
            <a:xfrm>
              <a:off x="9969267" y="5185838"/>
              <a:ext cx="680106" cy="254503"/>
              <a:chOff x="-4347" y="-631"/>
              <a:chExt cx="4909" cy="1837"/>
            </a:xfrm>
            <a:solidFill>
              <a:srgbClr val="000000"/>
            </a:solidFill>
          </p:grpSpPr>
          <p:sp>
            <p:nvSpPr>
              <p:cNvPr id="83" name="Freeform 27">
                <a:extLst>
                  <a:ext uri="{FF2B5EF4-FFF2-40B4-BE49-F238E27FC236}">
                    <a16:creationId xmlns:a16="http://schemas.microsoft.com/office/drawing/2014/main" id="{3710D164-242B-4138-AD8A-126FECFE7A9B}"/>
                  </a:ext>
                </a:extLst>
              </p:cNvPr>
              <p:cNvSpPr>
                <a:spLocks/>
              </p:cNvSpPr>
              <p:nvPr/>
            </p:nvSpPr>
            <p:spPr bwMode="auto">
              <a:xfrm>
                <a:off x="-822" y="-600"/>
                <a:ext cx="1384" cy="807"/>
              </a:xfrm>
              <a:custGeom>
                <a:avLst/>
                <a:gdLst>
                  <a:gd name="T0" fmla="*/ 587 w 587"/>
                  <a:gd name="T1" fmla="*/ 0 h 342"/>
                  <a:gd name="T2" fmla="*/ 0 w 587"/>
                  <a:gd name="T3" fmla="*/ 0 h 342"/>
                  <a:gd name="T4" fmla="*/ 0 w 587"/>
                  <a:gd name="T5" fmla="*/ 272 h 342"/>
                  <a:gd name="T6" fmla="*/ 26 w 587"/>
                  <a:gd name="T7" fmla="*/ 271 h 342"/>
                  <a:gd name="T8" fmla="*/ 302 w 587"/>
                  <a:gd name="T9" fmla="*/ 341 h 342"/>
                  <a:gd name="T10" fmla="*/ 305 w 587"/>
                  <a:gd name="T11" fmla="*/ 342 h 342"/>
                  <a:gd name="T12" fmla="*/ 587 w 587"/>
                  <a:gd name="T13" fmla="*/ 4 h 342"/>
                  <a:gd name="T14" fmla="*/ 587 w 587"/>
                  <a:gd name="T15" fmla="*/ 0 h 3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7" h="342">
                    <a:moveTo>
                      <a:pt x="587" y="0"/>
                    </a:moveTo>
                    <a:cubicBezTo>
                      <a:pt x="0" y="0"/>
                      <a:pt x="0" y="0"/>
                      <a:pt x="0" y="0"/>
                    </a:cubicBezTo>
                    <a:cubicBezTo>
                      <a:pt x="0" y="272"/>
                      <a:pt x="0" y="272"/>
                      <a:pt x="0" y="272"/>
                    </a:cubicBezTo>
                    <a:cubicBezTo>
                      <a:pt x="9" y="271"/>
                      <a:pt x="18" y="271"/>
                      <a:pt x="26" y="271"/>
                    </a:cubicBezTo>
                    <a:cubicBezTo>
                      <a:pt x="122" y="271"/>
                      <a:pt x="217" y="295"/>
                      <a:pt x="302" y="341"/>
                    </a:cubicBezTo>
                    <a:cubicBezTo>
                      <a:pt x="305" y="342"/>
                      <a:pt x="305" y="342"/>
                      <a:pt x="305" y="342"/>
                    </a:cubicBezTo>
                    <a:cubicBezTo>
                      <a:pt x="587" y="4"/>
                      <a:pt x="587" y="4"/>
                      <a:pt x="587" y="4"/>
                    </a:cubicBezTo>
                    <a:lnTo>
                      <a:pt x="5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8">
                <a:extLst>
                  <a:ext uri="{FF2B5EF4-FFF2-40B4-BE49-F238E27FC236}">
                    <a16:creationId xmlns:a16="http://schemas.microsoft.com/office/drawing/2014/main" id="{0DE2BA3E-30F5-4B14-8AE6-DF342C50B655}"/>
                  </a:ext>
                </a:extLst>
              </p:cNvPr>
              <p:cNvSpPr>
                <a:spLocks/>
              </p:cNvSpPr>
              <p:nvPr/>
            </p:nvSpPr>
            <p:spPr bwMode="auto">
              <a:xfrm>
                <a:off x="95" y="38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29">
                <a:extLst>
                  <a:ext uri="{FF2B5EF4-FFF2-40B4-BE49-F238E27FC236}">
                    <a16:creationId xmlns:a16="http://schemas.microsoft.com/office/drawing/2014/main" id="{976ED8A5-B6F6-497B-A715-9C8C0AE8E7BD}"/>
                  </a:ext>
                </a:extLst>
              </p:cNvPr>
              <p:cNvSpPr>
                <a:spLocks noChangeArrowheads="1"/>
              </p:cNvSpPr>
              <p:nvPr/>
            </p:nvSpPr>
            <p:spPr bwMode="auto">
              <a:xfrm>
                <a:off x="-822" y="1131"/>
                <a:ext cx="1" cy="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0">
                <a:extLst>
                  <a:ext uri="{FF2B5EF4-FFF2-40B4-BE49-F238E27FC236}">
                    <a16:creationId xmlns:a16="http://schemas.microsoft.com/office/drawing/2014/main" id="{749D4F45-AEF1-4D15-B997-C1CE8B02A5D7}"/>
                  </a:ext>
                </a:extLst>
              </p:cNvPr>
              <p:cNvSpPr>
                <a:spLocks/>
              </p:cNvSpPr>
              <p:nvPr/>
            </p:nvSpPr>
            <p:spPr bwMode="auto">
              <a:xfrm>
                <a:off x="-525" y="415"/>
                <a:ext cx="1079" cy="780"/>
              </a:xfrm>
              <a:custGeom>
                <a:avLst/>
                <a:gdLst>
                  <a:gd name="T0" fmla="*/ 0 w 458"/>
                  <a:gd name="T1" fmla="*/ 330 h 330"/>
                  <a:gd name="T2" fmla="*/ 458 w 458"/>
                  <a:gd name="T3" fmla="*/ 330 h 330"/>
                  <a:gd name="T4" fmla="*/ 275 w 458"/>
                  <a:gd name="T5" fmla="*/ 0 h 330"/>
                  <a:gd name="T6" fmla="*/ 0 w 458"/>
                  <a:gd name="T7" fmla="*/ 330 h 330"/>
                </a:gdLst>
                <a:ahLst/>
                <a:cxnLst>
                  <a:cxn ang="0">
                    <a:pos x="T0" y="T1"/>
                  </a:cxn>
                  <a:cxn ang="0">
                    <a:pos x="T2" y="T3"/>
                  </a:cxn>
                  <a:cxn ang="0">
                    <a:pos x="T4" y="T5"/>
                  </a:cxn>
                  <a:cxn ang="0">
                    <a:pos x="T6" y="T7"/>
                  </a:cxn>
                </a:cxnLst>
                <a:rect l="0" t="0" r="r" b="b"/>
                <a:pathLst>
                  <a:path w="458" h="330">
                    <a:moveTo>
                      <a:pt x="0" y="330"/>
                    </a:moveTo>
                    <a:cubicBezTo>
                      <a:pt x="458" y="330"/>
                      <a:pt x="458" y="330"/>
                      <a:pt x="458" y="330"/>
                    </a:cubicBezTo>
                    <a:cubicBezTo>
                      <a:pt x="436" y="199"/>
                      <a:pt x="370" y="84"/>
                      <a:pt x="275" y="0"/>
                    </a:cubicBezTo>
                    <a:lnTo>
                      <a:pt x="0"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1">
                <a:extLst>
                  <a:ext uri="{FF2B5EF4-FFF2-40B4-BE49-F238E27FC236}">
                    <a16:creationId xmlns:a16="http://schemas.microsoft.com/office/drawing/2014/main" id="{5E600049-8106-4437-98E2-623F6C84AA84}"/>
                  </a:ext>
                </a:extLst>
              </p:cNvPr>
              <p:cNvSpPr>
                <a:spLocks/>
              </p:cNvSpPr>
              <p:nvPr/>
            </p:nvSpPr>
            <p:spPr bwMode="auto">
              <a:xfrm>
                <a:off x="-822" y="257"/>
                <a:ext cx="917" cy="938"/>
              </a:xfrm>
              <a:custGeom>
                <a:avLst/>
                <a:gdLst>
                  <a:gd name="T0" fmla="*/ 389 w 389"/>
                  <a:gd name="T1" fmla="*/ 56 h 397"/>
                  <a:gd name="T2" fmla="*/ 308 w 389"/>
                  <a:gd name="T3" fmla="*/ 0 h 397"/>
                  <a:gd name="T4" fmla="*/ 0 w 389"/>
                  <a:gd name="T5" fmla="*/ 370 h 397"/>
                  <a:gd name="T6" fmla="*/ 0 w 389"/>
                  <a:gd name="T7" fmla="*/ 397 h 397"/>
                  <a:gd name="T8" fmla="*/ 105 w 389"/>
                  <a:gd name="T9" fmla="*/ 397 h 397"/>
                  <a:gd name="T10" fmla="*/ 389 w 389"/>
                  <a:gd name="T11" fmla="*/ 56 h 397"/>
                  <a:gd name="T12" fmla="*/ 389 w 389"/>
                  <a:gd name="T13" fmla="*/ 56 h 397"/>
                </a:gdLst>
                <a:ahLst/>
                <a:cxnLst>
                  <a:cxn ang="0">
                    <a:pos x="T0" y="T1"/>
                  </a:cxn>
                  <a:cxn ang="0">
                    <a:pos x="T2" y="T3"/>
                  </a:cxn>
                  <a:cxn ang="0">
                    <a:pos x="T4" y="T5"/>
                  </a:cxn>
                  <a:cxn ang="0">
                    <a:pos x="T6" y="T7"/>
                  </a:cxn>
                  <a:cxn ang="0">
                    <a:pos x="T8" y="T9"/>
                  </a:cxn>
                  <a:cxn ang="0">
                    <a:pos x="T10" y="T11"/>
                  </a:cxn>
                  <a:cxn ang="0">
                    <a:pos x="T12" y="T13"/>
                  </a:cxn>
                </a:cxnLst>
                <a:rect l="0" t="0" r="r" b="b"/>
                <a:pathLst>
                  <a:path w="389" h="397">
                    <a:moveTo>
                      <a:pt x="389" y="56"/>
                    </a:moveTo>
                    <a:cubicBezTo>
                      <a:pt x="364" y="35"/>
                      <a:pt x="337" y="16"/>
                      <a:pt x="308" y="0"/>
                    </a:cubicBezTo>
                    <a:cubicBezTo>
                      <a:pt x="0" y="370"/>
                      <a:pt x="0" y="370"/>
                      <a:pt x="0" y="370"/>
                    </a:cubicBezTo>
                    <a:cubicBezTo>
                      <a:pt x="0" y="397"/>
                      <a:pt x="0" y="397"/>
                      <a:pt x="0" y="397"/>
                    </a:cubicBezTo>
                    <a:cubicBezTo>
                      <a:pt x="105" y="397"/>
                      <a:pt x="105" y="397"/>
                      <a:pt x="105" y="397"/>
                    </a:cubicBezTo>
                    <a:cubicBezTo>
                      <a:pt x="389" y="56"/>
                      <a:pt x="389" y="56"/>
                      <a:pt x="389" y="56"/>
                    </a:cubicBezTo>
                    <a:cubicBezTo>
                      <a:pt x="389" y="56"/>
                      <a:pt x="389" y="56"/>
                      <a:pt x="389"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2">
                <a:extLst>
                  <a:ext uri="{FF2B5EF4-FFF2-40B4-BE49-F238E27FC236}">
                    <a16:creationId xmlns:a16="http://schemas.microsoft.com/office/drawing/2014/main" id="{584407DC-3999-4189-AC89-05D4E6498201}"/>
                  </a:ext>
                </a:extLst>
              </p:cNvPr>
              <p:cNvSpPr>
                <a:spLocks/>
              </p:cNvSpPr>
              <p:nvPr/>
            </p:nvSpPr>
            <p:spPr bwMode="auto">
              <a:xfrm>
                <a:off x="-822" y="77"/>
                <a:ext cx="693" cy="995"/>
              </a:xfrm>
              <a:custGeom>
                <a:avLst/>
                <a:gdLst>
                  <a:gd name="T0" fmla="*/ 0 w 294"/>
                  <a:gd name="T1" fmla="*/ 1 h 421"/>
                  <a:gd name="T2" fmla="*/ 0 w 294"/>
                  <a:gd name="T3" fmla="*/ 421 h 421"/>
                  <a:gd name="T4" fmla="*/ 294 w 294"/>
                  <a:gd name="T5" fmla="*/ 68 h 421"/>
                  <a:gd name="T6" fmla="*/ 26 w 294"/>
                  <a:gd name="T7" fmla="*/ 0 h 421"/>
                  <a:gd name="T8" fmla="*/ 0 w 294"/>
                  <a:gd name="T9" fmla="*/ 1 h 421"/>
                </a:gdLst>
                <a:ahLst/>
                <a:cxnLst>
                  <a:cxn ang="0">
                    <a:pos x="T0" y="T1"/>
                  </a:cxn>
                  <a:cxn ang="0">
                    <a:pos x="T2" y="T3"/>
                  </a:cxn>
                  <a:cxn ang="0">
                    <a:pos x="T4" y="T5"/>
                  </a:cxn>
                  <a:cxn ang="0">
                    <a:pos x="T6" y="T7"/>
                  </a:cxn>
                  <a:cxn ang="0">
                    <a:pos x="T8" y="T9"/>
                  </a:cxn>
                </a:cxnLst>
                <a:rect l="0" t="0" r="r" b="b"/>
                <a:pathLst>
                  <a:path w="294" h="421">
                    <a:moveTo>
                      <a:pt x="0" y="1"/>
                    </a:moveTo>
                    <a:cubicBezTo>
                      <a:pt x="0" y="421"/>
                      <a:pt x="0" y="421"/>
                      <a:pt x="0" y="421"/>
                    </a:cubicBezTo>
                    <a:cubicBezTo>
                      <a:pt x="294" y="68"/>
                      <a:pt x="294" y="68"/>
                      <a:pt x="294" y="68"/>
                    </a:cubicBezTo>
                    <a:cubicBezTo>
                      <a:pt x="214" y="25"/>
                      <a:pt x="123" y="0"/>
                      <a:pt x="26" y="0"/>
                    </a:cubicBezTo>
                    <a:cubicBezTo>
                      <a:pt x="17" y="0"/>
                      <a:pt x="9"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33">
                <a:extLst>
                  <a:ext uri="{FF2B5EF4-FFF2-40B4-BE49-F238E27FC236}">
                    <a16:creationId xmlns:a16="http://schemas.microsoft.com/office/drawing/2014/main" id="{D0ABBF3B-9D8E-4E0B-9424-AF165B96F818}"/>
                  </a:ext>
                </a:extLst>
              </p:cNvPr>
              <p:cNvSpPr>
                <a:spLocks/>
              </p:cNvSpPr>
              <p:nvPr/>
            </p:nvSpPr>
            <p:spPr bwMode="auto">
              <a:xfrm>
                <a:off x="-2560" y="-600"/>
                <a:ext cx="832" cy="925"/>
              </a:xfrm>
              <a:custGeom>
                <a:avLst/>
                <a:gdLst>
                  <a:gd name="T0" fmla="*/ 353 w 353"/>
                  <a:gd name="T1" fmla="*/ 392 h 392"/>
                  <a:gd name="T2" fmla="*/ 353 w 353"/>
                  <a:gd name="T3" fmla="*/ 245 h 392"/>
                  <a:gd name="T4" fmla="*/ 108 w 353"/>
                  <a:gd name="T5" fmla="*/ 0 h 392"/>
                  <a:gd name="T6" fmla="*/ 0 w 353"/>
                  <a:gd name="T7" fmla="*/ 0 h 392"/>
                  <a:gd name="T8" fmla="*/ 0 w 353"/>
                  <a:gd name="T9" fmla="*/ 392 h 392"/>
                  <a:gd name="T10" fmla="*/ 353 w 353"/>
                  <a:gd name="T11" fmla="*/ 392 h 392"/>
                </a:gdLst>
                <a:ahLst/>
                <a:cxnLst>
                  <a:cxn ang="0">
                    <a:pos x="T0" y="T1"/>
                  </a:cxn>
                  <a:cxn ang="0">
                    <a:pos x="T2" y="T3"/>
                  </a:cxn>
                  <a:cxn ang="0">
                    <a:pos x="T4" y="T5"/>
                  </a:cxn>
                  <a:cxn ang="0">
                    <a:pos x="T6" y="T7"/>
                  </a:cxn>
                  <a:cxn ang="0">
                    <a:pos x="T8" y="T9"/>
                  </a:cxn>
                  <a:cxn ang="0">
                    <a:pos x="T10" y="T11"/>
                  </a:cxn>
                </a:cxnLst>
                <a:rect l="0" t="0" r="r" b="b"/>
                <a:pathLst>
                  <a:path w="353" h="392">
                    <a:moveTo>
                      <a:pt x="353" y="392"/>
                    </a:moveTo>
                    <a:cubicBezTo>
                      <a:pt x="353" y="245"/>
                      <a:pt x="353" y="245"/>
                      <a:pt x="353" y="245"/>
                    </a:cubicBezTo>
                    <a:cubicBezTo>
                      <a:pt x="353" y="110"/>
                      <a:pt x="243" y="0"/>
                      <a:pt x="108" y="0"/>
                    </a:cubicBezTo>
                    <a:cubicBezTo>
                      <a:pt x="0" y="0"/>
                      <a:pt x="0" y="0"/>
                      <a:pt x="0" y="0"/>
                    </a:cubicBezTo>
                    <a:cubicBezTo>
                      <a:pt x="0" y="392"/>
                      <a:pt x="0" y="392"/>
                      <a:pt x="0" y="392"/>
                    </a:cubicBezTo>
                    <a:lnTo>
                      <a:pt x="353"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4">
                <a:extLst>
                  <a:ext uri="{FF2B5EF4-FFF2-40B4-BE49-F238E27FC236}">
                    <a16:creationId xmlns:a16="http://schemas.microsoft.com/office/drawing/2014/main" id="{3A6B3A42-2ACE-444E-8FC6-3EF77E5258C3}"/>
                  </a:ext>
                </a:extLst>
              </p:cNvPr>
              <p:cNvSpPr>
                <a:spLocks/>
              </p:cNvSpPr>
              <p:nvPr/>
            </p:nvSpPr>
            <p:spPr bwMode="auto">
              <a:xfrm>
                <a:off x="-3508" y="42"/>
                <a:ext cx="630" cy="513"/>
              </a:xfrm>
              <a:custGeom>
                <a:avLst/>
                <a:gdLst>
                  <a:gd name="T0" fmla="*/ 158 w 267"/>
                  <a:gd name="T1" fmla="*/ 0 h 217"/>
                  <a:gd name="T2" fmla="*/ 0 w 267"/>
                  <a:gd name="T3" fmla="*/ 0 h 217"/>
                  <a:gd name="T4" fmla="*/ 16 w 267"/>
                  <a:gd name="T5" fmla="*/ 116 h 217"/>
                  <a:gd name="T6" fmla="*/ 4 w 267"/>
                  <a:gd name="T7" fmla="*/ 217 h 217"/>
                  <a:gd name="T8" fmla="*/ 158 w 267"/>
                  <a:gd name="T9" fmla="*/ 217 h 217"/>
                  <a:gd name="T10" fmla="*/ 267 w 267"/>
                  <a:gd name="T11" fmla="*/ 108 h 217"/>
                  <a:gd name="T12" fmla="*/ 267 w 267"/>
                  <a:gd name="T13" fmla="*/ 108 h 217"/>
                  <a:gd name="T14" fmla="*/ 158 w 267"/>
                  <a:gd name="T15" fmla="*/ 0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7" h="217">
                    <a:moveTo>
                      <a:pt x="158" y="0"/>
                    </a:moveTo>
                    <a:cubicBezTo>
                      <a:pt x="0" y="0"/>
                      <a:pt x="0" y="0"/>
                      <a:pt x="0" y="0"/>
                    </a:cubicBezTo>
                    <a:cubicBezTo>
                      <a:pt x="10" y="38"/>
                      <a:pt x="16" y="77"/>
                      <a:pt x="16" y="116"/>
                    </a:cubicBezTo>
                    <a:cubicBezTo>
                      <a:pt x="16" y="150"/>
                      <a:pt x="12" y="184"/>
                      <a:pt x="4" y="217"/>
                    </a:cubicBezTo>
                    <a:cubicBezTo>
                      <a:pt x="158" y="217"/>
                      <a:pt x="158" y="217"/>
                      <a:pt x="158" y="217"/>
                    </a:cubicBezTo>
                    <a:cubicBezTo>
                      <a:pt x="218" y="217"/>
                      <a:pt x="267" y="168"/>
                      <a:pt x="267" y="108"/>
                    </a:cubicBezTo>
                    <a:cubicBezTo>
                      <a:pt x="267" y="108"/>
                      <a:pt x="267" y="108"/>
                      <a:pt x="267" y="108"/>
                    </a:cubicBezTo>
                    <a:cubicBezTo>
                      <a:pt x="267" y="48"/>
                      <a:pt x="218" y="0"/>
                      <a:pt x="15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5">
                <a:extLst>
                  <a:ext uri="{FF2B5EF4-FFF2-40B4-BE49-F238E27FC236}">
                    <a16:creationId xmlns:a16="http://schemas.microsoft.com/office/drawing/2014/main" id="{280D994F-167A-488D-9075-2B4BCE644ACE}"/>
                  </a:ext>
                </a:extLst>
              </p:cNvPr>
              <p:cNvSpPr>
                <a:spLocks/>
              </p:cNvSpPr>
              <p:nvPr/>
            </p:nvSpPr>
            <p:spPr bwMode="auto">
              <a:xfrm>
                <a:off x="-4347" y="42"/>
                <a:ext cx="839" cy="513"/>
              </a:xfrm>
              <a:custGeom>
                <a:avLst/>
                <a:gdLst>
                  <a:gd name="T0" fmla="*/ 0 w 356"/>
                  <a:gd name="T1" fmla="*/ 104 h 217"/>
                  <a:gd name="T2" fmla="*/ 16 w 356"/>
                  <a:gd name="T3" fmla="*/ 217 h 217"/>
                  <a:gd name="T4" fmla="*/ 344 w 356"/>
                  <a:gd name="T5" fmla="*/ 217 h 217"/>
                  <a:gd name="T6" fmla="*/ 356 w 356"/>
                  <a:gd name="T7" fmla="*/ 116 h 217"/>
                  <a:gd name="T8" fmla="*/ 340 w 356"/>
                  <a:gd name="T9" fmla="*/ 0 h 217"/>
                  <a:gd name="T10" fmla="*/ 14 w 356"/>
                  <a:gd name="T11" fmla="*/ 0 h 217"/>
                  <a:gd name="T12" fmla="*/ 0 w 356"/>
                  <a:gd name="T13" fmla="*/ 104 h 217"/>
                </a:gdLst>
                <a:ahLst/>
                <a:cxnLst>
                  <a:cxn ang="0">
                    <a:pos x="T0" y="T1"/>
                  </a:cxn>
                  <a:cxn ang="0">
                    <a:pos x="T2" y="T3"/>
                  </a:cxn>
                  <a:cxn ang="0">
                    <a:pos x="T4" y="T5"/>
                  </a:cxn>
                  <a:cxn ang="0">
                    <a:pos x="T6" y="T7"/>
                  </a:cxn>
                  <a:cxn ang="0">
                    <a:pos x="T8" y="T9"/>
                  </a:cxn>
                  <a:cxn ang="0">
                    <a:pos x="T10" y="T11"/>
                  </a:cxn>
                  <a:cxn ang="0">
                    <a:pos x="T12" y="T13"/>
                  </a:cxn>
                </a:cxnLst>
                <a:rect l="0" t="0" r="r" b="b"/>
                <a:pathLst>
                  <a:path w="356" h="217">
                    <a:moveTo>
                      <a:pt x="0" y="104"/>
                    </a:moveTo>
                    <a:cubicBezTo>
                      <a:pt x="0" y="143"/>
                      <a:pt x="5" y="181"/>
                      <a:pt x="16" y="217"/>
                    </a:cubicBezTo>
                    <a:cubicBezTo>
                      <a:pt x="344" y="217"/>
                      <a:pt x="344" y="217"/>
                      <a:pt x="344" y="217"/>
                    </a:cubicBezTo>
                    <a:cubicBezTo>
                      <a:pt x="352" y="185"/>
                      <a:pt x="356" y="151"/>
                      <a:pt x="356" y="116"/>
                    </a:cubicBezTo>
                    <a:cubicBezTo>
                      <a:pt x="356" y="76"/>
                      <a:pt x="350" y="37"/>
                      <a:pt x="340" y="0"/>
                    </a:cubicBezTo>
                    <a:cubicBezTo>
                      <a:pt x="14" y="0"/>
                      <a:pt x="14" y="0"/>
                      <a:pt x="14" y="0"/>
                    </a:cubicBezTo>
                    <a:cubicBezTo>
                      <a:pt x="5" y="33"/>
                      <a:pt x="0" y="68"/>
                      <a:pt x="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6">
                <a:extLst>
                  <a:ext uri="{FF2B5EF4-FFF2-40B4-BE49-F238E27FC236}">
                    <a16:creationId xmlns:a16="http://schemas.microsoft.com/office/drawing/2014/main" id="{D182AB80-27EB-40AF-B110-21857175C78E}"/>
                  </a:ext>
                </a:extLst>
              </p:cNvPr>
              <p:cNvSpPr>
                <a:spLocks/>
              </p:cNvSpPr>
              <p:nvPr/>
            </p:nvSpPr>
            <p:spPr bwMode="auto">
              <a:xfrm>
                <a:off x="-3812" y="701"/>
                <a:ext cx="1106" cy="505"/>
              </a:xfrm>
              <a:custGeom>
                <a:avLst/>
                <a:gdLst>
                  <a:gd name="T0" fmla="*/ 340 w 469"/>
                  <a:gd name="T1" fmla="*/ 0 h 214"/>
                  <a:gd name="T2" fmla="*/ 123 w 469"/>
                  <a:gd name="T3" fmla="*/ 0 h 214"/>
                  <a:gd name="T4" fmla="*/ 121 w 469"/>
                  <a:gd name="T5" fmla="*/ 6 h 214"/>
                  <a:gd name="T6" fmla="*/ 0 w 469"/>
                  <a:gd name="T7" fmla="*/ 179 h 214"/>
                  <a:gd name="T8" fmla="*/ 162 w 469"/>
                  <a:gd name="T9" fmla="*/ 214 h 214"/>
                  <a:gd name="T10" fmla="*/ 469 w 469"/>
                  <a:gd name="T11" fmla="*/ 64 h 214"/>
                  <a:gd name="T12" fmla="*/ 340 w 469"/>
                  <a:gd name="T13" fmla="*/ 0 h 214"/>
                </a:gdLst>
                <a:ahLst/>
                <a:cxnLst>
                  <a:cxn ang="0">
                    <a:pos x="T0" y="T1"/>
                  </a:cxn>
                  <a:cxn ang="0">
                    <a:pos x="T2" y="T3"/>
                  </a:cxn>
                  <a:cxn ang="0">
                    <a:pos x="T4" y="T5"/>
                  </a:cxn>
                  <a:cxn ang="0">
                    <a:pos x="T6" y="T7"/>
                  </a:cxn>
                  <a:cxn ang="0">
                    <a:pos x="T8" y="T9"/>
                  </a:cxn>
                  <a:cxn ang="0">
                    <a:pos x="T10" y="T11"/>
                  </a:cxn>
                  <a:cxn ang="0">
                    <a:pos x="T12" y="T13"/>
                  </a:cxn>
                </a:cxnLst>
                <a:rect l="0" t="0" r="r" b="b"/>
                <a:pathLst>
                  <a:path w="469" h="214">
                    <a:moveTo>
                      <a:pt x="340" y="0"/>
                    </a:moveTo>
                    <a:cubicBezTo>
                      <a:pt x="123" y="0"/>
                      <a:pt x="123" y="0"/>
                      <a:pt x="123" y="0"/>
                    </a:cubicBezTo>
                    <a:cubicBezTo>
                      <a:pt x="121" y="6"/>
                      <a:pt x="121" y="6"/>
                      <a:pt x="121" y="6"/>
                    </a:cubicBezTo>
                    <a:cubicBezTo>
                      <a:pt x="95" y="71"/>
                      <a:pt x="53" y="131"/>
                      <a:pt x="0" y="179"/>
                    </a:cubicBezTo>
                    <a:cubicBezTo>
                      <a:pt x="49" y="201"/>
                      <a:pt x="104" y="214"/>
                      <a:pt x="162" y="214"/>
                    </a:cubicBezTo>
                    <a:cubicBezTo>
                      <a:pt x="286" y="214"/>
                      <a:pt x="397" y="155"/>
                      <a:pt x="469" y="64"/>
                    </a:cubicBezTo>
                    <a:cubicBezTo>
                      <a:pt x="439" y="25"/>
                      <a:pt x="392" y="0"/>
                      <a:pt x="3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7">
                <a:extLst>
                  <a:ext uri="{FF2B5EF4-FFF2-40B4-BE49-F238E27FC236}">
                    <a16:creationId xmlns:a16="http://schemas.microsoft.com/office/drawing/2014/main" id="{B2D02E65-C95E-488D-A8E6-57BAF3AB186A}"/>
                  </a:ext>
                </a:extLst>
              </p:cNvPr>
              <p:cNvSpPr>
                <a:spLocks/>
              </p:cNvSpPr>
              <p:nvPr/>
            </p:nvSpPr>
            <p:spPr bwMode="auto">
              <a:xfrm>
                <a:off x="-4251" y="701"/>
                <a:ext cx="689" cy="404"/>
              </a:xfrm>
              <a:custGeom>
                <a:avLst/>
                <a:gdLst>
                  <a:gd name="T0" fmla="*/ 292 w 292"/>
                  <a:gd name="T1" fmla="*/ 0 h 171"/>
                  <a:gd name="T2" fmla="*/ 283 w 292"/>
                  <a:gd name="T3" fmla="*/ 0 h 171"/>
                  <a:gd name="T4" fmla="*/ 0 w 292"/>
                  <a:gd name="T5" fmla="*/ 0 h 171"/>
                  <a:gd name="T6" fmla="*/ 162 w 292"/>
                  <a:gd name="T7" fmla="*/ 167 h 171"/>
                  <a:gd name="T8" fmla="*/ 170 w 292"/>
                  <a:gd name="T9" fmla="*/ 171 h 171"/>
                  <a:gd name="T10" fmla="*/ 292 w 292"/>
                  <a:gd name="T11" fmla="*/ 0 h 171"/>
                </a:gdLst>
                <a:ahLst/>
                <a:cxnLst>
                  <a:cxn ang="0">
                    <a:pos x="T0" y="T1"/>
                  </a:cxn>
                  <a:cxn ang="0">
                    <a:pos x="T2" y="T3"/>
                  </a:cxn>
                  <a:cxn ang="0">
                    <a:pos x="T4" y="T5"/>
                  </a:cxn>
                  <a:cxn ang="0">
                    <a:pos x="T6" y="T7"/>
                  </a:cxn>
                  <a:cxn ang="0">
                    <a:pos x="T8" y="T9"/>
                  </a:cxn>
                  <a:cxn ang="0">
                    <a:pos x="T10" y="T11"/>
                  </a:cxn>
                </a:cxnLst>
                <a:rect l="0" t="0" r="r" b="b"/>
                <a:pathLst>
                  <a:path w="292" h="171">
                    <a:moveTo>
                      <a:pt x="292" y="0"/>
                    </a:moveTo>
                    <a:cubicBezTo>
                      <a:pt x="283" y="0"/>
                      <a:pt x="283" y="0"/>
                      <a:pt x="283" y="0"/>
                    </a:cubicBezTo>
                    <a:cubicBezTo>
                      <a:pt x="0" y="0"/>
                      <a:pt x="0" y="0"/>
                      <a:pt x="0" y="0"/>
                    </a:cubicBezTo>
                    <a:cubicBezTo>
                      <a:pt x="36" y="71"/>
                      <a:pt x="93" y="129"/>
                      <a:pt x="162" y="167"/>
                    </a:cubicBezTo>
                    <a:cubicBezTo>
                      <a:pt x="165" y="168"/>
                      <a:pt x="167" y="170"/>
                      <a:pt x="170" y="171"/>
                    </a:cubicBezTo>
                    <a:cubicBezTo>
                      <a:pt x="223" y="125"/>
                      <a:pt x="265" y="66"/>
                      <a:pt x="2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38">
                <a:extLst>
                  <a:ext uri="{FF2B5EF4-FFF2-40B4-BE49-F238E27FC236}">
                    <a16:creationId xmlns:a16="http://schemas.microsoft.com/office/drawing/2014/main" id="{CBE317F6-0E27-4DA2-83EB-73BF9BC3E380}"/>
                  </a:ext>
                </a:extLst>
              </p:cNvPr>
              <p:cNvSpPr>
                <a:spLocks/>
              </p:cNvSpPr>
              <p:nvPr/>
            </p:nvSpPr>
            <p:spPr bwMode="auto">
              <a:xfrm>
                <a:off x="-3855" y="-631"/>
                <a:ext cx="1156" cy="529"/>
              </a:xfrm>
              <a:custGeom>
                <a:avLst/>
                <a:gdLst>
                  <a:gd name="T0" fmla="*/ 180 w 490"/>
                  <a:gd name="T1" fmla="*/ 0 h 224"/>
                  <a:gd name="T2" fmla="*/ 0 w 490"/>
                  <a:gd name="T3" fmla="*/ 44 h 224"/>
                  <a:gd name="T4" fmla="*/ 133 w 490"/>
                  <a:gd name="T5" fmla="*/ 218 h 224"/>
                  <a:gd name="T6" fmla="*/ 136 w 490"/>
                  <a:gd name="T7" fmla="*/ 224 h 224"/>
                  <a:gd name="T8" fmla="*/ 184 w 490"/>
                  <a:gd name="T9" fmla="*/ 224 h 224"/>
                  <a:gd name="T10" fmla="*/ 358 w 490"/>
                  <a:gd name="T11" fmla="*/ 224 h 224"/>
                  <a:gd name="T12" fmla="*/ 490 w 490"/>
                  <a:gd name="T13" fmla="*/ 155 h 224"/>
                  <a:gd name="T14" fmla="*/ 180 w 490"/>
                  <a:gd name="T15" fmla="*/ 0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0" h="224">
                    <a:moveTo>
                      <a:pt x="180" y="0"/>
                    </a:moveTo>
                    <a:cubicBezTo>
                      <a:pt x="115" y="0"/>
                      <a:pt x="54" y="16"/>
                      <a:pt x="0" y="44"/>
                    </a:cubicBezTo>
                    <a:cubicBezTo>
                      <a:pt x="57" y="91"/>
                      <a:pt x="103" y="151"/>
                      <a:pt x="133" y="218"/>
                    </a:cubicBezTo>
                    <a:cubicBezTo>
                      <a:pt x="136" y="224"/>
                      <a:pt x="136" y="224"/>
                      <a:pt x="136" y="224"/>
                    </a:cubicBezTo>
                    <a:cubicBezTo>
                      <a:pt x="184" y="224"/>
                      <a:pt x="184" y="224"/>
                      <a:pt x="184" y="224"/>
                    </a:cubicBezTo>
                    <a:cubicBezTo>
                      <a:pt x="358" y="224"/>
                      <a:pt x="358" y="224"/>
                      <a:pt x="358" y="224"/>
                    </a:cubicBezTo>
                    <a:cubicBezTo>
                      <a:pt x="413" y="224"/>
                      <a:pt x="461" y="197"/>
                      <a:pt x="490" y="155"/>
                    </a:cubicBezTo>
                    <a:cubicBezTo>
                      <a:pt x="419" y="61"/>
                      <a:pt x="307" y="0"/>
                      <a:pt x="1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39">
                <a:extLst>
                  <a:ext uri="{FF2B5EF4-FFF2-40B4-BE49-F238E27FC236}">
                    <a16:creationId xmlns:a16="http://schemas.microsoft.com/office/drawing/2014/main" id="{3C0AB8F5-320C-4992-9E76-F70C331BE179}"/>
                  </a:ext>
                </a:extLst>
              </p:cNvPr>
              <p:cNvSpPr>
                <a:spLocks/>
              </p:cNvSpPr>
              <p:nvPr/>
            </p:nvSpPr>
            <p:spPr bwMode="auto">
              <a:xfrm>
                <a:off x="-4262" y="-508"/>
                <a:ext cx="686" cy="406"/>
              </a:xfrm>
              <a:custGeom>
                <a:avLst/>
                <a:gdLst>
                  <a:gd name="T0" fmla="*/ 151 w 291"/>
                  <a:gd name="T1" fmla="*/ 5 h 172"/>
                  <a:gd name="T2" fmla="*/ 150 w 291"/>
                  <a:gd name="T3" fmla="*/ 5 h 172"/>
                  <a:gd name="T4" fmla="*/ 150 w 291"/>
                  <a:gd name="T5" fmla="*/ 5 h 172"/>
                  <a:gd name="T6" fmla="*/ 0 w 291"/>
                  <a:gd name="T7" fmla="*/ 172 h 172"/>
                  <a:gd name="T8" fmla="*/ 121 w 291"/>
                  <a:gd name="T9" fmla="*/ 172 h 172"/>
                  <a:gd name="T10" fmla="*/ 282 w 291"/>
                  <a:gd name="T11" fmla="*/ 172 h 172"/>
                  <a:gd name="T12" fmla="*/ 291 w 291"/>
                  <a:gd name="T13" fmla="*/ 172 h 172"/>
                  <a:gd name="T14" fmla="*/ 158 w 291"/>
                  <a:gd name="T15" fmla="*/ 0 h 172"/>
                  <a:gd name="T16" fmla="*/ 151 w 291"/>
                  <a:gd name="T17" fmla="*/ 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1" h="172">
                    <a:moveTo>
                      <a:pt x="151" y="5"/>
                    </a:moveTo>
                    <a:cubicBezTo>
                      <a:pt x="151" y="5"/>
                      <a:pt x="150" y="5"/>
                      <a:pt x="150" y="5"/>
                    </a:cubicBezTo>
                    <a:cubicBezTo>
                      <a:pt x="150" y="5"/>
                      <a:pt x="150" y="5"/>
                      <a:pt x="150" y="5"/>
                    </a:cubicBezTo>
                    <a:cubicBezTo>
                      <a:pt x="85" y="45"/>
                      <a:pt x="33" y="103"/>
                      <a:pt x="0" y="172"/>
                    </a:cubicBezTo>
                    <a:cubicBezTo>
                      <a:pt x="121" y="172"/>
                      <a:pt x="121" y="172"/>
                      <a:pt x="121" y="172"/>
                    </a:cubicBezTo>
                    <a:cubicBezTo>
                      <a:pt x="282" y="172"/>
                      <a:pt x="282" y="172"/>
                      <a:pt x="282" y="172"/>
                    </a:cubicBezTo>
                    <a:cubicBezTo>
                      <a:pt x="291" y="172"/>
                      <a:pt x="291" y="172"/>
                      <a:pt x="291" y="172"/>
                    </a:cubicBezTo>
                    <a:cubicBezTo>
                      <a:pt x="262" y="105"/>
                      <a:pt x="215" y="46"/>
                      <a:pt x="158" y="0"/>
                    </a:cubicBezTo>
                    <a:cubicBezTo>
                      <a:pt x="156" y="2"/>
                      <a:pt x="153" y="3"/>
                      <a:pt x="15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40">
                <a:extLst>
                  <a:ext uri="{FF2B5EF4-FFF2-40B4-BE49-F238E27FC236}">
                    <a16:creationId xmlns:a16="http://schemas.microsoft.com/office/drawing/2014/main" id="{D8EC57FD-31FF-47D0-A37C-A9251F52CBC7}"/>
                  </a:ext>
                </a:extLst>
              </p:cNvPr>
              <p:cNvSpPr>
                <a:spLocks noChangeArrowheads="1"/>
              </p:cNvSpPr>
              <p:nvPr/>
            </p:nvSpPr>
            <p:spPr bwMode="auto">
              <a:xfrm>
                <a:off x="-1473" y="363"/>
                <a:ext cx="509" cy="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1">
                <a:extLst>
                  <a:ext uri="{FF2B5EF4-FFF2-40B4-BE49-F238E27FC236}">
                    <a16:creationId xmlns:a16="http://schemas.microsoft.com/office/drawing/2014/main" id="{AFC0992B-AB0A-4AE3-8EFC-D1D7F8452B20}"/>
                  </a:ext>
                </a:extLst>
              </p:cNvPr>
              <p:cNvSpPr>
                <a:spLocks/>
              </p:cNvSpPr>
              <p:nvPr/>
            </p:nvSpPr>
            <p:spPr bwMode="auto">
              <a:xfrm>
                <a:off x="-2560" y="363"/>
                <a:ext cx="832" cy="832"/>
              </a:xfrm>
              <a:custGeom>
                <a:avLst/>
                <a:gdLst>
                  <a:gd name="T0" fmla="*/ 0 w 353"/>
                  <a:gd name="T1" fmla="*/ 0 h 352"/>
                  <a:gd name="T2" fmla="*/ 0 w 353"/>
                  <a:gd name="T3" fmla="*/ 0 h 352"/>
                  <a:gd name="T4" fmla="*/ 352 w 353"/>
                  <a:gd name="T5" fmla="*/ 352 h 352"/>
                  <a:gd name="T6" fmla="*/ 353 w 353"/>
                  <a:gd name="T7" fmla="*/ 352 h 352"/>
                  <a:gd name="T8" fmla="*/ 353 w 353"/>
                  <a:gd name="T9" fmla="*/ 0 h 352"/>
                  <a:gd name="T10" fmla="*/ 0 w 353"/>
                  <a:gd name="T11" fmla="*/ 0 h 352"/>
                </a:gdLst>
                <a:ahLst/>
                <a:cxnLst>
                  <a:cxn ang="0">
                    <a:pos x="T0" y="T1"/>
                  </a:cxn>
                  <a:cxn ang="0">
                    <a:pos x="T2" y="T3"/>
                  </a:cxn>
                  <a:cxn ang="0">
                    <a:pos x="T4" y="T5"/>
                  </a:cxn>
                  <a:cxn ang="0">
                    <a:pos x="T6" y="T7"/>
                  </a:cxn>
                  <a:cxn ang="0">
                    <a:pos x="T8" y="T9"/>
                  </a:cxn>
                  <a:cxn ang="0">
                    <a:pos x="T10" y="T11"/>
                  </a:cxn>
                </a:cxnLst>
                <a:rect l="0" t="0" r="r" b="b"/>
                <a:pathLst>
                  <a:path w="353" h="352">
                    <a:moveTo>
                      <a:pt x="0" y="0"/>
                    </a:moveTo>
                    <a:cubicBezTo>
                      <a:pt x="0" y="0"/>
                      <a:pt x="0" y="0"/>
                      <a:pt x="0" y="0"/>
                    </a:cubicBezTo>
                    <a:cubicBezTo>
                      <a:pt x="0" y="194"/>
                      <a:pt x="157" y="352"/>
                      <a:pt x="352" y="352"/>
                    </a:cubicBezTo>
                    <a:cubicBezTo>
                      <a:pt x="353" y="352"/>
                      <a:pt x="353" y="352"/>
                      <a:pt x="353" y="352"/>
                    </a:cubicBezTo>
                    <a:cubicBezTo>
                      <a:pt x="353" y="0"/>
                      <a:pt x="353" y="0"/>
                      <a:pt x="35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42">
                <a:extLst>
                  <a:ext uri="{FF2B5EF4-FFF2-40B4-BE49-F238E27FC236}">
                    <a16:creationId xmlns:a16="http://schemas.microsoft.com/office/drawing/2014/main" id="{1B279788-E105-41F9-91FE-8CB84E814F1A}"/>
                  </a:ext>
                </a:extLst>
              </p:cNvPr>
              <p:cNvSpPr>
                <a:spLocks noChangeArrowheads="1"/>
              </p:cNvSpPr>
              <p:nvPr/>
            </p:nvSpPr>
            <p:spPr bwMode="auto">
              <a:xfrm>
                <a:off x="-1690" y="363"/>
                <a:ext cx="179" cy="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19" name="Group 118">
            <a:extLst>
              <a:ext uri="{FF2B5EF4-FFF2-40B4-BE49-F238E27FC236}">
                <a16:creationId xmlns:a16="http://schemas.microsoft.com/office/drawing/2014/main" id="{6EA43917-90B8-4A90-BE4C-E26A81199FF4}"/>
              </a:ext>
            </a:extLst>
          </p:cNvPr>
          <p:cNvGrpSpPr/>
          <p:nvPr/>
        </p:nvGrpSpPr>
        <p:grpSpPr>
          <a:xfrm>
            <a:off x="3648496" y="4861339"/>
            <a:ext cx="665568" cy="850326"/>
            <a:chOff x="3648496" y="5061631"/>
            <a:chExt cx="665568" cy="850326"/>
          </a:xfrm>
        </p:grpSpPr>
        <p:pic>
          <p:nvPicPr>
            <p:cNvPr id="81" name="Picture 80">
              <a:extLst>
                <a:ext uri="{FF2B5EF4-FFF2-40B4-BE49-F238E27FC236}">
                  <a16:creationId xmlns:a16="http://schemas.microsoft.com/office/drawing/2014/main" id="{AC7C3880-511D-41B6-ABA8-06D068A3307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29820" y="5061631"/>
              <a:ext cx="502920" cy="502917"/>
            </a:xfrm>
            <a:prstGeom prst="rect">
              <a:avLst/>
            </a:prstGeom>
          </p:spPr>
        </p:pic>
        <p:sp>
          <p:nvSpPr>
            <p:cNvPr id="99" name="Rectangle 98">
              <a:extLst>
                <a:ext uri="{FF2B5EF4-FFF2-40B4-BE49-F238E27FC236}">
                  <a16:creationId xmlns:a16="http://schemas.microsoft.com/office/drawing/2014/main" id="{7804DD3D-B5D8-473A-B4DB-1CD659D005E0}"/>
                </a:ext>
              </a:extLst>
            </p:cNvPr>
            <p:cNvSpPr/>
            <p:nvPr/>
          </p:nvSpPr>
          <p:spPr>
            <a:xfrm>
              <a:off x="3648496" y="5634958"/>
              <a:ext cx="665568" cy="276999"/>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GitHub</a:t>
              </a:r>
            </a:p>
          </p:txBody>
        </p:sp>
      </p:grpSp>
      <p:grpSp>
        <p:nvGrpSpPr>
          <p:cNvPr id="122" name="Group 121">
            <a:extLst>
              <a:ext uri="{FF2B5EF4-FFF2-40B4-BE49-F238E27FC236}">
                <a16:creationId xmlns:a16="http://schemas.microsoft.com/office/drawing/2014/main" id="{7C4A02B8-629E-4CE8-9CA6-BF648F0F95B9}"/>
              </a:ext>
            </a:extLst>
          </p:cNvPr>
          <p:cNvGrpSpPr/>
          <p:nvPr/>
        </p:nvGrpSpPr>
        <p:grpSpPr>
          <a:xfrm>
            <a:off x="1781433" y="2773649"/>
            <a:ext cx="1237391" cy="1049746"/>
            <a:chOff x="1705111" y="2973941"/>
            <a:chExt cx="1237391" cy="1049746"/>
          </a:xfrm>
        </p:grpSpPr>
        <p:sp>
          <p:nvSpPr>
            <p:cNvPr id="54" name="Rectangle 53">
              <a:extLst>
                <a:ext uri="{FF2B5EF4-FFF2-40B4-BE49-F238E27FC236}">
                  <a16:creationId xmlns:a16="http://schemas.microsoft.com/office/drawing/2014/main" id="{044613AD-751E-4E03-A55F-443847A38857}"/>
                </a:ext>
              </a:extLst>
            </p:cNvPr>
            <p:cNvSpPr/>
            <p:nvPr/>
          </p:nvSpPr>
          <p:spPr>
            <a:xfrm>
              <a:off x="1705111" y="3562022"/>
              <a:ext cx="1237391" cy="461665"/>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Boards</a:t>
              </a:r>
            </a:p>
            <a:p>
              <a:pPr algn="ctr" defTabSz="895497">
                <a:defRPr/>
              </a:pPr>
              <a:r>
                <a:rPr lang="en-US" sz="1200">
                  <a:solidFill>
                    <a:srgbClr val="000000"/>
                  </a:solidFill>
                  <a:latin typeface="Segoe UI" panose="020B0502040204020203" pitchFamily="34" charset="0"/>
                  <a:cs typeface="Segoe UI" panose="020B0502040204020203" pitchFamily="34" charset="0"/>
                </a:rPr>
                <a:t>(Azure DevOps)</a:t>
              </a:r>
            </a:p>
          </p:txBody>
        </p:sp>
        <p:grpSp>
          <p:nvGrpSpPr>
            <p:cNvPr id="127" name="Group 126">
              <a:extLst>
                <a:ext uri="{FF2B5EF4-FFF2-40B4-BE49-F238E27FC236}">
                  <a16:creationId xmlns:a16="http://schemas.microsoft.com/office/drawing/2014/main" id="{1B434E4D-C796-48AB-87B1-ABCC395031CD}"/>
                </a:ext>
              </a:extLst>
            </p:cNvPr>
            <p:cNvGrpSpPr>
              <a:grpSpLocks noChangeAspect="1"/>
            </p:cNvGrpSpPr>
            <p:nvPr/>
          </p:nvGrpSpPr>
          <p:grpSpPr>
            <a:xfrm>
              <a:off x="2072346" y="2973941"/>
              <a:ext cx="502920" cy="494650"/>
              <a:chOff x="8005483" y="2939497"/>
              <a:chExt cx="3679508" cy="3619003"/>
            </a:xfrm>
            <a:solidFill>
              <a:srgbClr val="000000"/>
            </a:solidFill>
          </p:grpSpPr>
          <p:sp>
            <p:nvSpPr>
              <p:cNvPr id="128" name="Freeform: Shape 127">
                <a:extLst>
                  <a:ext uri="{FF2B5EF4-FFF2-40B4-BE49-F238E27FC236}">
                    <a16:creationId xmlns:a16="http://schemas.microsoft.com/office/drawing/2014/main" id="{6AF8CCA3-8627-47E3-BD96-4D826801556A}"/>
                  </a:ext>
                </a:extLst>
              </p:cNvPr>
              <p:cNvSpPr>
                <a:spLocks/>
              </p:cNvSpPr>
              <p:nvPr/>
            </p:nvSpPr>
            <p:spPr bwMode="auto">
              <a:xfrm>
                <a:off x="8005483" y="2939497"/>
                <a:ext cx="3628448" cy="2803588"/>
              </a:xfrm>
              <a:custGeom>
                <a:avLst/>
                <a:gdLst>
                  <a:gd name="connsiteX0" fmla="*/ 324344 w 3628447"/>
                  <a:gd name="connsiteY0" fmla="*/ 1852725 h 2803588"/>
                  <a:gd name="connsiteX1" fmla="*/ 324344 w 3628447"/>
                  <a:gd name="connsiteY1" fmla="*/ 2336906 h 2803588"/>
                  <a:gd name="connsiteX2" fmla="*/ 1150369 w 3628447"/>
                  <a:gd name="connsiteY2" fmla="*/ 2336906 h 2803588"/>
                  <a:gd name="connsiteX3" fmla="*/ 1150369 w 3628447"/>
                  <a:gd name="connsiteY3" fmla="*/ 1852725 h 2803588"/>
                  <a:gd name="connsiteX4" fmla="*/ 1415210 w 3628447"/>
                  <a:gd name="connsiteY4" fmla="*/ 1072201 h 2803588"/>
                  <a:gd name="connsiteX5" fmla="*/ 1415210 w 3628447"/>
                  <a:gd name="connsiteY5" fmla="*/ 1556382 h 2803588"/>
                  <a:gd name="connsiteX6" fmla="*/ 2241234 w 3628447"/>
                  <a:gd name="connsiteY6" fmla="*/ 1556382 h 2803588"/>
                  <a:gd name="connsiteX7" fmla="*/ 2241234 w 3628447"/>
                  <a:gd name="connsiteY7" fmla="*/ 1072201 h 2803588"/>
                  <a:gd name="connsiteX8" fmla="*/ 324344 w 3628447"/>
                  <a:gd name="connsiteY8" fmla="*/ 1072201 h 2803588"/>
                  <a:gd name="connsiteX9" fmla="*/ 324344 w 3628447"/>
                  <a:gd name="connsiteY9" fmla="*/ 1556382 h 2803588"/>
                  <a:gd name="connsiteX10" fmla="*/ 1150369 w 3628447"/>
                  <a:gd name="connsiteY10" fmla="*/ 1556382 h 2803588"/>
                  <a:gd name="connsiteX11" fmla="*/ 1150369 w 3628447"/>
                  <a:gd name="connsiteY11" fmla="*/ 1072201 h 2803588"/>
                  <a:gd name="connsiteX12" fmla="*/ 2504914 w 3628447"/>
                  <a:gd name="connsiteY12" fmla="*/ 302175 h 2803588"/>
                  <a:gd name="connsiteX13" fmla="*/ 2504914 w 3628447"/>
                  <a:gd name="connsiteY13" fmla="*/ 786356 h 2803588"/>
                  <a:gd name="connsiteX14" fmla="*/ 3330939 w 3628447"/>
                  <a:gd name="connsiteY14" fmla="*/ 786356 h 2803588"/>
                  <a:gd name="connsiteX15" fmla="*/ 3330939 w 3628447"/>
                  <a:gd name="connsiteY15" fmla="*/ 302175 h 2803588"/>
                  <a:gd name="connsiteX16" fmla="*/ 1415210 w 3628447"/>
                  <a:gd name="connsiteY16" fmla="*/ 302175 h 2803588"/>
                  <a:gd name="connsiteX17" fmla="*/ 1415210 w 3628447"/>
                  <a:gd name="connsiteY17" fmla="*/ 786356 h 2803588"/>
                  <a:gd name="connsiteX18" fmla="*/ 2241234 w 3628447"/>
                  <a:gd name="connsiteY18" fmla="*/ 786356 h 2803588"/>
                  <a:gd name="connsiteX19" fmla="*/ 2241234 w 3628447"/>
                  <a:gd name="connsiteY19" fmla="*/ 302175 h 2803588"/>
                  <a:gd name="connsiteX20" fmla="*/ 324344 w 3628447"/>
                  <a:gd name="connsiteY20" fmla="*/ 302175 h 2803588"/>
                  <a:gd name="connsiteX21" fmla="*/ 324344 w 3628447"/>
                  <a:gd name="connsiteY21" fmla="*/ 786356 h 2803588"/>
                  <a:gd name="connsiteX22" fmla="*/ 1150369 w 3628447"/>
                  <a:gd name="connsiteY22" fmla="*/ 786356 h 2803588"/>
                  <a:gd name="connsiteX23" fmla="*/ 1150369 w 3628447"/>
                  <a:gd name="connsiteY23" fmla="*/ 302175 h 2803588"/>
                  <a:gd name="connsiteX24" fmla="*/ 154166 w 3628447"/>
                  <a:gd name="connsiteY24" fmla="*/ 0 h 2803588"/>
                  <a:gd name="connsiteX25" fmla="*/ 3474281 w 3628447"/>
                  <a:gd name="connsiteY25" fmla="*/ 0 h 2803588"/>
                  <a:gd name="connsiteX26" fmla="*/ 3628447 w 3628447"/>
                  <a:gd name="connsiteY26" fmla="*/ 153923 h 2803588"/>
                  <a:gd name="connsiteX27" fmla="*/ 3628447 w 3628447"/>
                  <a:gd name="connsiteY27" fmla="*/ 1217639 h 2803588"/>
                  <a:gd name="connsiteX28" fmla="*/ 3628447 w 3628447"/>
                  <a:gd name="connsiteY28" fmla="*/ 2045529 h 2803588"/>
                  <a:gd name="connsiteX29" fmla="*/ 3628447 w 3628447"/>
                  <a:gd name="connsiteY29" fmla="*/ 2070843 h 2803588"/>
                  <a:gd name="connsiteX30" fmla="*/ 3595353 w 3628447"/>
                  <a:gd name="connsiteY30" fmla="*/ 2016455 h 2803588"/>
                  <a:gd name="connsiteX31" fmla="*/ 2686919 w 3628447"/>
                  <a:gd name="connsiteY31" fmla="*/ 1534216 h 2803588"/>
                  <a:gd name="connsiteX32" fmla="*/ 1591385 w 3628447"/>
                  <a:gd name="connsiteY32" fmla="*/ 2628000 h 2803588"/>
                  <a:gd name="connsiteX33" fmla="*/ 1597041 w 3628447"/>
                  <a:gd name="connsiteY33" fmla="*/ 2739833 h 2803588"/>
                  <a:gd name="connsiteX34" fmla="*/ 1606787 w 3628447"/>
                  <a:gd name="connsiteY34" fmla="*/ 2803588 h 2803588"/>
                  <a:gd name="connsiteX35" fmla="*/ 1554840 w 3628447"/>
                  <a:gd name="connsiteY35" fmla="*/ 2803588 h 2803588"/>
                  <a:gd name="connsiteX36" fmla="*/ 154166 w 3628447"/>
                  <a:gd name="connsiteY36" fmla="*/ 2803588 h 2803588"/>
                  <a:gd name="connsiteX37" fmla="*/ 0 w 3628447"/>
                  <a:gd name="connsiteY37" fmla="*/ 2649665 h 2803588"/>
                  <a:gd name="connsiteX38" fmla="*/ 0 w 3628447"/>
                  <a:gd name="connsiteY38" fmla="*/ 153923 h 2803588"/>
                  <a:gd name="connsiteX39" fmla="*/ 154166 w 3628447"/>
                  <a:gd name="connsiteY39" fmla="*/ 0 h 280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628447" h="2803588">
                    <a:moveTo>
                      <a:pt x="324344" y="1852725"/>
                    </a:moveTo>
                    <a:lnTo>
                      <a:pt x="324344" y="2336906"/>
                    </a:lnTo>
                    <a:lnTo>
                      <a:pt x="1150369" y="2336906"/>
                    </a:lnTo>
                    <a:lnTo>
                      <a:pt x="1150369" y="1852725"/>
                    </a:lnTo>
                    <a:close/>
                    <a:moveTo>
                      <a:pt x="1415210" y="1072201"/>
                    </a:moveTo>
                    <a:lnTo>
                      <a:pt x="1415210" y="1556382"/>
                    </a:lnTo>
                    <a:lnTo>
                      <a:pt x="2241234" y="1556382"/>
                    </a:lnTo>
                    <a:lnTo>
                      <a:pt x="2241234" y="1072201"/>
                    </a:lnTo>
                    <a:close/>
                    <a:moveTo>
                      <a:pt x="324344" y="1072201"/>
                    </a:moveTo>
                    <a:lnTo>
                      <a:pt x="324344" y="1556382"/>
                    </a:lnTo>
                    <a:lnTo>
                      <a:pt x="1150369" y="1556382"/>
                    </a:lnTo>
                    <a:lnTo>
                      <a:pt x="1150369" y="1072201"/>
                    </a:lnTo>
                    <a:close/>
                    <a:moveTo>
                      <a:pt x="2504914" y="302175"/>
                    </a:moveTo>
                    <a:lnTo>
                      <a:pt x="2504914" y="786356"/>
                    </a:lnTo>
                    <a:lnTo>
                      <a:pt x="3330939" y="786356"/>
                    </a:lnTo>
                    <a:lnTo>
                      <a:pt x="3330939" y="302175"/>
                    </a:lnTo>
                    <a:close/>
                    <a:moveTo>
                      <a:pt x="1415210" y="302175"/>
                    </a:moveTo>
                    <a:lnTo>
                      <a:pt x="1415210" y="786356"/>
                    </a:lnTo>
                    <a:lnTo>
                      <a:pt x="2241234" y="786356"/>
                    </a:lnTo>
                    <a:lnTo>
                      <a:pt x="2241234" y="302175"/>
                    </a:lnTo>
                    <a:close/>
                    <a:moveTo>
                      <a:pt x="324344" y="302175"/>
                    </a:moveTo>
                    <a:lnTo>
                      <a:pt x="324344" y="786356"/>
                    </a:lnTo>
                    <a:lnTo>
                      <a:pt x="1150369" y="786356"/>
                    </a:lnTo>
                    <a:lnTo>
                      <a:pt x="1150369" y="302175"/>
                    </a:lnTo>
                    <a:close/>
                    <a:moveTo>
                      <a:pt x="154166" y="0"/>
                    </a:moveTo>
                    <a:cubicBezTo>
                      <a:pt x="3474281" y="0"/>
                      <a:pt x="3474281" y="0"/>
                      <a:pt x="3474281" y="0"/>
                    </a:cubicBezTo>
                    <a:cubicBezTo>
                      <a:pt x="3559624" y="0"/>
                      <a:pt x="3628447" y="68714"/>
                      <a:pt x="3628447" y="153923"/>
                    </a:cubicBezTo>
                    <a:cubicBezTo>
                      <a:pt x="3628447" y="1217639"/>
                      <a:pt x="3628447" y="1217639"/>
                      <a:pt x="3628447" y="1217639"/>
                    </a:cubicBezTo>
                    <a:cubicBezTo>
                      <a:pt x="3628447" y="1575646"/>
                      <a:pt x="3628447" y="1844151"/>
                      <a:pt x="3628447" y="2045529"/>
                    </a:cubicBezTo>
                    <a:lnTo>
                      <a:pt x="3628447" y="2070843"/>
                    </a:lnTo>
                    <a:lnTo>
                      <a:pt x="3595353" y="2016455"/>
                    </a:lnTo>
                    <a:cubicBezTo>
                      <a:pt x="3398478" y="1725507"/>
                      <a:pt x="3065073" y="1534216"/>
                      <a:pt x="2686919" y="1534216"/>
                    </a:cubicBezTo>
                    <a:cubicBezTo>
                      <a:pt x="2081872" y="1534216"/>
                      <a:pt x="1591385" y="2023920"/>
                      <a:pt x="1591385" y="2628000"/>
                    </a:cubicBezTo>
                    <a:cubicBezTo>
                      <a:pt x="1591385" y="2665755"/>
                      <a:pt x="1593301" y="2703063"/>
                      <a:pt x="1597041" y="2739833"/>
                    </a:cubicBezTo>
                    <a:lnTo>
                      <a:pt x="1606787" y="2803588"/>
                    </a:lnTo>
                    <a:lnTo>
                      <a:pt x="1554840" y="2803588"/>
                    </a:lnTo>
                    <a:cubicBezTo>
                      <a:pt x="154166" y="2803588"/>
                      <a:pt x="154166" y="2803588"/>
                      <a:pt x="154166" y="2803588"/>
                    </a:cubicBezTo>
                    <a:cubicBezTo>
                      <a:pt x="68827" y="2803588"/>
                      <a:pt x="0" y="2734874"/>
                      <a:pt x="0" y="2649665"/>
                    </a:cubicBezTo>
                    <a:cubicBezTo>
                      <a:pt x="0" y="153923"/>
                      <a:pt x="0" y="153923"/>
                      <a:pt x="0" y="153923"/>
                    </a:cubicBezTo>
                    <a:cubicBezTo>
                      <a:pt x="0" y="68714"/>
                      <a:pt x="68827" y="0"/>
                      <a:pt x="154166" y="0"/>
                    </a:cubicBezTo>
                    <a:close/>
                  </a:path>
                </a:pathLst>
              </a:custGeom>
              <a:solidFill>
                <a:srgbClr val="0F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29" name="Freeform: Shape 128">
                <a:extLst>
                  <a:ext uri="{FF2B5EF4-FFF2-40B4-BE49-F238E27FC236}">
                    <a16:creationId xmlns:a16="http://schemas.microsoft.com/office/drawing/2014/main" id="{5E87B9E8-550D-47D2-9BF6-7770A1DA09E2}"/>
                  </a:ext>
                </a:extLst>
              </p:cNvPr>
              <p:cNvSpPr>
                <a:spLocks noChangeArrowheads="1"/>
              </p:cNvSpPr>
              <p:nvPr/>
            </p:nvSpPr>
            <p:spPr bwMode="auto">
              <a:xfrm>
                <a:off x="9699811" y="4576495"/>
                <a:ext cx="1985180" cy="1982005"/>
              </a:xfrm>
              <a:custGeom>
                <a:avLst/>
                <a:gdLst>
                  <a:gd name="connsiteX0" fmla="*/ 1537437 w 1985178"/>
                  <a:gd name="connsiteY0" fmla="*/ 446735 h 1982006"/>
                  <a:gd name="connsiteX1" fmla="*/ 887583 w 1985178"/>
                  <a:gd name="connsiteY1" fmla="*/ 1128090 h 1982006"/>
                  <a:gd name="connsiteX2" fmla="*/ 513071 w 1985178"/>
                  <a:gd name="connsiteY2" fmla="*/ 754745 h 1982006"/>
                  <a:gd name="connsiteX3" fmla="*/ 293731 w 1985178"/>
                  <a:gd name="connsiteY3" fmla="*/ 985752 h 1982006"/>
                  <a:gd name="connsiteX4" fmla="*/ 877083 w 1985178"/>
                  <a:gd name="connsiteY4" fmla="*/ 1567937 h 1982006"/>
                  <a:gd name="connsiteX5" fmla="*/ 1780112 w 1985178"/>
                  <a:gd name="connsiteY5" fmla="*/ 688243 h 1982006"/>
                  <a:gd name="connsiteX6" fmla="*/ 992589 w 1985178"/>
                  <a:gd name="connsiteY6" fmla="*/ 0 h 1982006"/>
                  <a:gd name="connsiteX7" fmla="*/ 1985178 w 1985178"/>
                  <a:gd name="connsiteY7" fmla="*/ 991003 h 1982006"/>
                  <a:gd name="connsiteX8" fmla="*/ 992589 w 1985178"/>
                  <a:gd name="connsiteY8" fmla="*/ 1982006 h 1982006"/>
                  <a:gd name="connsiteX9" fmla="*/ 0 w 1985178"/>
                  <a:gd name="connsiteY9" fmla="*/ 991003 h 1982006"/>
                  <a:gd name="connsiteX10" fmla="*/ 992589 w 1985178"/>
                  <a:gd name="connsiteY10" fmla="*/ 0 h 198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85178" h="1982006">
                    <a:moveTo>
                      <a:pt x="1537437" y="446735"/>
                    </a:moveTo>
                    <a:lnTo>
                      <a:pt x="887583" y="1128090"/>
                    </a:lnTo>
                    <a:lnTo>
                      <a:pt x="513071" y="754745"/>
                    </a:lnTo>
                    <a:lnTo>
                      <a:pt x="293731" y="985752"/>
                    </a:lnTo>
                    <a:lnTo>
                      <a:pt x="877083" y="1567937"/>
                    </a:lnTo>
                    <a:lnTo>
                      <a:pt x="1780112" y="688243"/>
                    </a:lnTo>
                    <a:close/>
                    <a:moveTo>
                      <a:pt x="992589" y="0"/>
                    </a:moveTo>
                    <a:cubicBezTo>
                      <a:pt x="1540781" y="0"/>
                      <a:pt x="1985178" y="443687"/>
                      <a:pt x="1985178" y="991003"/>
                    </a:cubicBezTo>
                    <a:cubicBezTo>
                      <a:pt x="1985178" y="1538319"/>
                      <a:pt x="1540781" y="1982006"/>
                      <a:pt x="992589" y="1982006"/>
                    </a:cubicBezTo>
                    <a:cubicBezTo>
                      <a:pt x="444397" y="1982006"/>
                      <a:pt x="0" y="1538319"/>
                      <a:pt x="0" y="991003"/>
                    </a:cubicBezTo>
                    <a:cubicBezTo>
                      <a:pt x="0" y="443687"/>
                      <a:pt x="444397" y="0"/>
                      <a:pt x="992589" y="0"/>
                    </a:cubicBezTo>
                    <a:close/>
                  </a:path>
                </a:pathLst>
              </a:custGeom>
              <a:solidFill>
                <a:srgbClr val="0F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grpSp>
        <p:nvGrpSpPr>
          <p:cNvPr id="124" name="Group 123">
            <a:extLst>
              <a:ext uri="{FF2B5EF4-FFF2-40B4-BE49-F238E27FC236}">
                <a16:creationId xmlns:a16="http://schemas.microsoft.com/office/drawing/2014/main" id="{AEDFE68A-091F-436A-BCFD-0CE82EF44A37}"/>
              </a:ext>
            </a:extLst>
          </p:cNvPr>
          <p:cNvGrpSpPr/>
          <p:nvPr/>
        </p:nvGrpSpPr>
        <p:grpSpPr>
          <a:xfrm>
            <a:off x="3362585" y="2778771"/>
            <a:ext cx="1237391" cy="1044624"/>
            <a:chOff x="3075935" y="2979063"/>
            <a:chExt cx="1237391" cy="1044624"/>
          </a:xfrm>
        </p:grpSpPr>
        <p:sp>
          <p:nvSpPr>
            <p:cNvPr id="57" name="Rectangle 56">
              <a:extLst>
                <a:ext uri="{FF2B5EF4-FFF2-40B4-BE49-F238E27FC236}">
                  <a16:creationId xmlns:a16="http://schemas.microsoft.com/office/drawing/2014/main" id="{E3666DDE-3B09-41E6-B356-8F24F7985921}"/>
                </a:ext>
              </a:extLst>
            </p:cNvPr>
            <p:cNvSpPr/>
            <p:nvPr/>
          </p:nvSpPr>
          <p:spPr>
            <a:xfrm>
              <a:off x="3075935" y="3562022"/>
              <a:ext cx="1237391" cy="461665"/>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Repos</a:t>
              </a:r>
            </a:p>
            <a:p>
              <a:pPr algn="ctr" defTabSz="895497">
                <a:defRPr/>
              </a:pPr>
              <a:r>
                <a:rPr lang="en-US" sz="1200">
                  <a:solidFill>
                    <a:srgbClr val="000000"/>
                  </a:solidFill>
                  <a:latin typeface="Segoe UI" panose="020B0502040204020203" pitchFamily="34" charset="0"/>
                  <a:cs typeface="Segoe UI" panose="020B0502040204020203" pitchFamily="34" charset="0"/>
                </a:rPr>
                <a:t>(Azure DevOps)</a:t>
              </a:r>
            </a:p>
          </p:txBody>
        </p:sp>
        <p:sp>
          <p:nvSpPr>
            <p:cNvPr id="133" name="Freeform: Shape 132">
              <a:extLst>
                <a:ext uri="{FF2B5EF4-FFF2-40B4-BE49-F238E27FC236}">
                  <a16:creationId xmlns:a16="http://schemas.microsoft.com/office/drawing/2014/main" id="{14C8768B-C7D2-490D-A08B-8872D2A02975}"/>
                </a:ext>
              </a:extLst>
            </p:cNvPr>
            <p:cNvSpPr>
              <a:spLocks noChangeAspect="1"/>
            </p:cNvSpPr>
            <p:nvPr/>
          </p:nvSpPr>
          <p:spPr bwMode="auto">
            <a:xfrm>
              <a:off x="3466030" y="2979063"/>
              <a:ext cx="457200" cy="484407"/>
            </a:xfrm>
            <a:custGeom>
              <a:avLst/>
              <a:gdLst>
                <a:gd name="connsiteX0" fmla="*/ 1199230 w 3756859"/>
                <a:gd name="connsiteY0" fmla="*/ 3064294 h 3980425"/>
                <a:gd name="connsiteX1" fmla="*/ 1468966 w 3756859"/>
                <a:gd name="connsiteY1" fmla="*/ 3333422 h 3980425"/>
                <a:gd name="connsiteX2" fmla="*/ 1199230 w 3756859"/>
                <a:gd name="connsiteY2" fmla="*/ 3602551 h 3980425"/>
                <a:gd name="connsiteX3" fmla="*/ 929493 w 3756859"/>
                <a:gd name="connsiteY3" fmla="*/ 3333422 h 3980425"/>
                <a:gd name="connsiteX4" fmla="*/ 1199230 w 3756859"/>
                <a:gd name="connsiteY4" fmla="*/ 3064294 h 3980425"/>
                <a:gd name="connsiteX5" fmla="*/ 2563706 w 3756859"/>
                <a:gd name="connsiteY5" fmla="*/ 1059501 h 3980425"/>
                <a:gd name="connsiteX6" fmla="*/ 2833442 w 3756859"/>
                <a:gd name="connsiteY6" fmla="*/ 1328630 h 3980425"/>
                <a:gd name="connsiteX7" fmla="*/ 2563706 w 3756859"/>
                <a:gd name="connsiteY7" fmla="*/ 1597758 h 3980425"/>
                <a:gd name="connsiteX8" fmla="*/ 2293969 w 3756859"/>
                <a:gd name="connsiteY8" fmla="*/ 1328630 h 3980425"/>
                <a:gd name="connsiteX9" fmla="*/ 2563706 w 3756859"/>
                <a:gd name="connsiteY9" fmla="*/ 1059501 h 3980425"/>
                <a:gd name="connsiteX10" fmla="*/ 1199231 w 3756859"/>
                <a:gd name="connsiteY10" fmla="*/ 1059501 h 3980425"/>
                <a:gd name="connsiteX11" fmla="*/ 1468967 w 3756859"/>
                <a:gd name="connsiteY11" fmla="*/ 1328630 h 3980425"/>
                <a:gd name="connsiteX12" fmla="*/ 1199231 w 3756859"/>
                <a:gd name="connsiteY12" fmla="*/ 1597758 h 3980425"/>
                <a:gd name="connsiteX13" fmla="*/ 929494 w 3756859"/>
                <a:gd name="connsiteY13" fmla="*/ 1328630 h 3980425"/>
                <a:gd name="connsiteX14" fmla="*/ 1199231 w 3756859"/>
                <a:gd name="connsiteY14" fmla="*/ 1059501 h 3980425"/>
                <a:gd name="connsiteX15" fmla="*/ 1199230 w 3756859"/>
                <a:gd name="connsiteY15" fmla="*/ 962300 h 3980425"/>
                <a:gd name="connsiteX16" fmla="*/ 832292 w 3756859"/>
                <a:gd name="connsiteY16" fmla="*/ 1328631 h 3980425"/>
                <a:gd name="connsiteX17" fmla="*/ 1056400 w 3756859"/>
                <a:gd name="connsiteY17" fmla="*/ 1666174 h 3980425"/>
                <a:gd name="connsiteX18" fmla="*/ 1112963 w 3756859"/>
                <a:gd name="connsiteY18" fmla="*/ 1677574 h 3980425"/>
                <a:gd name="connsiteX19" fmla="*/ 1112963 w 3756859"/>
                <a:gd name="connsiteY19" fmla="*/ 2423711 h 3980425"/>
                <a:gd name="connsiteX20" fmla="*/ 1032770 w 3756859"/>
                <a:gd name="connsiteY20" fmla="*/ 2456783 h 3980425"/>
                <a:gd name="connsiteX21" fmla="*/ 1032770 w 3756859"/>
                <a:gd name="connsiteY21" fmla="*/ 3008686 h 3980425"/>
                <a:gd name="connsiteX22" fmla="*/ 994071 w 3756859"/>
                <a:gd name="connsiteY22" fmla="*/ 3029656 h 3980425"/>
                <a:gd name="connsiteX23" fmla="*/ 832291 w 3756859"/>
                <a:gd name="connsiteY23" fmla="*/ 3333424 h 3980425"/>
                <a:gd name="connsiteX24" fmla="*/ 1199228 w 3756859"/>
                <a:gd name="connsiteY24" fmla="*/ 3699754 h 3980425"/>
                <a:gd name="connsiteX25" fmla="*/ 1566166 w 3756859"/>
                <a:gd name="connsiteY25" fmla="*/ 3333424 h 3980425"/>
                <a:gd name="connsiteX26" fmla="*/ 1404386 w 3756859"/>
                <a:gd name="connsiteY26" fmla="*/ 3029656 h 3980425"/>
                <a:gd name="connsiteX27" fmla="*/ 1365688 w 3756859"/>
                <a:gd name="connsiteY27" fmla="*/ 3008687 h 3980425"/>
                <a:gd name="connsiteX28" fmla="*/ 1365688 w 3756859"/>
                <a:gd name="connsiteY28" fmla="*/ 2601587 h 3980425"/>
                <a:gd name="connsiteX29" fmla="*/ 2643894 w 3756859"/>
                <a:gd name="connsiteY29" fmla="*/ 2089845 h 3980425"/>
                <a:gd name="connsiteX30" fmla="*/ 2643896 w 3756859"/>
                <a:gd name="connsiteY30" fmla="*/ 2089845 h 3980425"/>
                <a:gd name="connsiteX31" fmla="*/ 2643896 w 3756859"/>
                <a:gd name="connsiteY31" fmla="*/ 2089844 h 3980425"/>
                <a:gd name="connsiteX32" fmla="*/ 2643896 w 3756859"/>
                <a:gd name="connsiteY32" fmla="*/ 1685585 h 3980425"/>
                <a:gd name="connsiteX33" fmla="*/ 2706534 w 3756859"/>
                <a:gd name="connsiteY33" fmla="*/ 1666173 h 3980425"/>
                <a:gd name="connsiteX34" fmla="*/ 2930642 w 3756859"/>
                <a:gd name="connsiteY34" fmla="*/ 1328631 h 3980425"/>
                <a:gd name="connsiteX35" fmla="*/ 2563704 w 3756859"/>
                <a:gd name="connsiteY35" fmla="*/ 962300 h 3980425"/>
                <a:gd name="connsiteX36" fmla="*/ 2196767 w 3756859"/>
                <a:gd name="connsiteY36" fmla="*/ 1328631 h 3980425"/>
                <a:gd name="connsiteX37" fmla="*/ 2420875 w 3756859"/>
                <a:gd name="connsiteY37" fmla="*/ 1666173 h 3980425"/>
                <a:gd name="connsiteX38" fmla="*/ 2472578 w 3756859"/>
                <a:gd name="connsiteY38" fmla="*/ 1682195 h 3980425"/>
                <a:gd name="connsiteX39" fmla="*/ 2472578 w 3756859"/>
                <a:gd name="connsiteY39" fmla="*/ 1989768 h 3980425"/>
                <a:gd name="connsiteX40" fmla="*/ 1365688 w 3756859"/>
                <a:gd name="connsiteY40" fmla="*/ 2432921 h 3980425"/>
                <a:gd name="connsiteX41" fmla="*/ 1365688 w 3756859"/>
                <a:gd name="connsiteY41" fmla="*/ 2319485 h 3980425"/>
                <a:gd name="connsiteX42" fmla="*/ 1285497 w 3756859"/>
                <a:gd name="connsiteY42" fmla="*/ 2352557 h 3980425"/>
                <a:gd name="connsiteX43" fmla="*/ 1285497 w 3756859"/>
                <a:gd name="connsiteY43" fmla="*/ 1677574 h 3980425"/>
                <a:gd name="connsiteX44" fmla="*/ 1342059 w 3756859"/>
                <a:gd name="connsiteY44" fmla="*/ 1666174 h 3980425"/>
                <a:gd name="connsiteX45" fmla="*/ 1566167 w 3756859"/>
                <a:gd name="connsiteY45" fmla="*/ 1328631 h 3980425"/>
                <a:gd name="connsiteX46" fmla="*/ 1199230 w 3756859"/>
                <a:gd name="connsiteY46" fmla="*/ 962300 h 3980425"/>
                <a:gd name="connsiteX47" fmla="*/ 146260 w 3756859"/>
                <a:gd name="connsiteY47" fmla="*/ 652469 h 3980425"/>
                <a:gd name="connsiteX48" fmla="*/ 2621198 w 3756859"/>
                <a:gd name="connsiteY48" fmla="*/ 652469 h 3980425"/>
                <a:gd name="connsiteX49" fmla="*/ 3610600 w 3756859"/>
                <a:gd name="connsiteY49" fmla="*/ 652469 h 3980425"/>
                <a:gd name="connsiteX50" fmla="*/ 3756859 w 3756859"/>
                <a:gd name="connsiteY50" fmla="*/ 798533 h 3980425"/>
                <a:gd name="connsiteX51" fmla="*/ 3756859 w 3756859"/>
                <a:gd name="connsiteY51" fmla="*/ 3834362 h 3980425"/>
                <a:gd name="connsiteX52" fmla="*/ 3610600 w 3756859"/>
                <a:gd name="connsiteY52" fmla="*/ 3980425 h 3980425"/>
                <a:gd name="connsiteX53" fmla="*/ 146260 w 3756859"/>
                <a:gd name="connsiteY53" fmla="*/ 3980425 h 3980425"/>
                <a:gd name="connsiteX54" fmla="*/ 0 w 3756859"/>
                <a:gd name="connsiteY54" fmla="*/ 3834362 h 3980425"/>
                <a:gd name="connsiteX55" fmla="*/ 0 w 3756859"/>
                <a:gd name="connsiteY55" fmla="*/ 798533 h 3980425"/>
                <a:gd name="connsiteX56" fmla="*/ 146260 w 3756859"/>
                <a:gd name="connsiteY56" fmla="*/ 652469 h 3980425"/>
                <a:gd name="connsiteX57" fmla="*/ 510695 w 3756859"/>
                <a:gd name="connsiteY57" fmla="*/ 320767 h 3980425"/>
                <a:gd name="connsiteX58" fmla="*/ 1508540 w 3756859"/>
                <a:gd name="connsiteY58" fmla="*/ 320767 h 3980425"/>
                <a:gd name="connsiteX59" fmla="*/ 2904949 w 3756859"/>
                <a:gd name="connsiteY59" fmla="*/ 320767 h 3980425"/>
                <a:gd name="connsiteX60" fmla="*/ 3246166 w 3756859"/>
                <a:gd name="connsiteY60" fmla="*/ 320767 h 3980425"/>
                <a:gd name="connsiteX61" fmla="*/ 3423943 w 3756859"/>
                <a:gd name="connsiteY61" fmla="*/ 498270 h 3980425"/>
                <a:gd name="connsiteX62" fmla="*/ 3423943 w 3756859"/>
                <a:gd name="connsiteY62" fmla="*/ 606651 h 3980425"/>
                <a:gd name="connsiteX63" fmla="*/ 332918 w 3756859"/>
                <a:gd name="connsiteY63" fmla="*/ 606651 h 3980425"/>
                <a:gd name="connsiteX64" fmla="*/ 332918 w 3756859"/>
                <a:gd name="connsiteY64" fmla="*/ 588960 h 3980425"/>
                <a:gd name="connsiteX65" fmla="*/ 332918 w 3756859"/>
                <a:gd name="connsiteY65" fmla="*/ 498270 h 3980425"/>
                <a:gd name="connsiteX66" fmla="*/ 510695 w 3756859"/>
                <a:gd name="connsiteY66" fmla="*/ 320767 h 3980425"/>
                <a:gd name="connsiteX67" fmla="*/ 826572 w 3756859"/>
                <a:gd name="connsiteY67" fmla="*/ 0 h 3980425"/>
                <a:gd name="connsiteX68" fmla="*/ 1595130 w 3756859"/>
                <a:gd name="connsiteY68" fmla="*/ 0 h 3980425"/>
                <a:gd name="connsiteX69" fmla="*/ 2593108 w 3756859"/>
                <a:gd name="connsiteY69" fmla="*/ 0 h 3980425"/>
                <a:gd name="connsiteX70" fmla="*/ 2931503 w 3756859"/>
                <a:gd name="connsiteY70" fmla="*/ 0 h 3980425"/>
                <a:gd name="connsiteX71" fmla="*/ 3069155 w 3756859"/>
                <a:gd name="connsiteY71" fmla="*/ 177503 h 3980425"/>
                <a:gd name="connsiteX72" fmla="*/ 3069155 w 3756859"/>
                <a:gd name="connsiteY72" fmla="*/ 275143 h 3980425"/>
                <a:gd name="connsiteX73" fmla="*/ 688920 w 3756859"/>
                <a:gd name="connsiteY73" fmla="*/ 275143 h 3980425"/>
                <a:gd name="connsiteX74" fmla="*/ 688920 w 3756859"/>
                <a:gd name="connsiteY74" fmla="*/ 268193 h 3980425"/>
                <a:gd name="connsiteX75" fmla="*/ 688920 w 3756859"/>
                <a:gd name="connsiteY75" fmla="*/ 177503 h 3980425"/>
                <a:gd name="connsiteX76" fmla="*/ 826572 w 3756859"/>
                <a:gd name="connsiteY76" fmla="*/ 0 h 398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756859" h="3980425">
                  <a:moveTo>
                    <a:pt x="1199230" y="3064294"/>
                  </a:moveTo>
                  <a:cubicBezTo>
                    <a:pt x="1348200" y="3064294"/>
                    <a:pt x="1468966" y="3184786"/>
                    <a:pt x="1468966" y="3333422"/>
                  </a:cubicBezTo>
                  <a:cubicBezTo>
                    <a:pt x="1468966" y="3482058"/>
                    <a:pt x="1348200" y="3602551"/>
                    <a:pt x="1199230" y="3602551"/>
                  </a:cubicBezTo>
                  <a:cubicBezTo>
                    <a:pt x="1050259" y="3602551"/>
                    <a:pt x="929493" y="3482058"/>
                    <a:pt x="929493" y="3333422"/>
                  </a:cubicBezTo>
                  <a:cubicBezTo>
                    <a:pt x="929493" y="3184786"/>
                    <a:pt x="1050259" y="3064294"/>
                    <a:pt x="1199230" y="3064294"/>
                  </a:cubicBezTo>
                  <a:close/>
                  <a:moveTo>
                    <a:pt x="2563706" y="1059501"/>
                  </a:moveTo>
                  <a:cubicBezTo>
                    <a:pt x="2712676" y="1059501"/>
                    <a:pt x="2833442" y="1179994"/>
                    <a:pt x="2833442" y="1328630"/>
                  </a:cubicBezTo>
                  <a:cubicBezTo>
                    <a:pt x="2833442" y="1477266"/>
                    <a:pt x="2712676" y="1597758"/>
                    <a:pt x="2563706" y="1597758"/>
                  </a:cubicBezTo>
                  <a:cubicBezTo>
                    <a:pt x="2414735" y="1597758"/>
                    <a:pt x="2293969" y="1477266"/>
                    <a:pt x="2293969" y="1328630"/>
                  </a:cubicBezTo>
                  <a:cubicBezTo>
                    <a:pt x="2293969" y="1179994"/>
                    <a:pt x="2414735" y="1059501"/>
                    <a:pt x="2563706" y="1059501"/>
                  </a:cubicBezTo>
                  <a:close/>
                  <a:moveTo>
                    <a:pt x="1199231" y="1059501"/>
                  </a:moveTo>
                  <a:cubicBezTo>
                    <a:pt x="1348201" y="1059501"/>
                    <a:pt x="1468967" y="1179994"/>
                    <a:pt x="1468967" y="1328630"/>
                  </a:cubicBezTo>
                  <a:cubicBezTo>
                    <a:pt x="1468967" y="1477266"/>
                    <a:pt x="1348201" y="1597758"/>
                    <a:pt x="1199231" y="1597758"/>
                  </a:cubicBezTo>
                  <a:cubicBezTo>
                    <a:pt x="1050260" y="1597758"/>
                    <a:pt x="929494" y="1477266"/>
                    <a:pt x="929494" y="1328630"/>
                  </a:cubicBezTo>
                  <a:cubicBezTo>
                    <a:pt x="929494" y="1179994"/>
                    <a:pt x="1050260" y="1059501"/>
                    <a:pt x="1199231" y="1059501"/>
                  </a:cubicBezTo>
                  <a:close/>
                  <a:moveTo>
                    <a:pt x="1199230" y="962300"/>
                  </a:moveTo>
                  <a:cubicBezTo>
                    <a:pt x="996576" y="962300"/>
                    <a:pt x="832292" y="1126312"/>
                    <a:pt x="832292" y="1328631"/>
                  </a:cubicBezTo>
                  <a:cubicBezTo>
                    <a:pt x="832292" y="1480371"/>
                    <a:pt x="924701" y="1610561"/>
                    <a:pt x="1056400" y="1666174"/>
                  </a:cubicBezTo>
                  <a:lnTo>
                    <a:pt x="1112963" y="1677574"/>
                  </a:lnTo>
                  <a:lnTo>
                    <a:pt x="1112963" y="2423711"/>
                  </a:lnTo>
                  <a:lnTo>
                    <a:pt x="1032770" y="2456783"/>
                  </a:lnTo>
                  <a:lnTo>
                    <a:pt x="1032770" y="3008686"/>
                  </a:lnTo>
                  <a:lnTo>
                    <a:pt x="994071" y="3029656"/>
                  </a:lnTo>
                  <a:cubicBezTo>
                    <a:pt x="896464" y="3095489"/>
                    <a:pt x="832291" y="3206974"/>
                    <a:pt x="832291" y="3333424"/>
                  </a:cubicBezTo>
                  <a:cubicBezTo>
                    <a:pt x="832291" y="3535743"/>
                    <a:pt x="996575" y="3699754"/>
                    <a:pt x="1199228" y="3699754"/>
                  </a:cubicBezTo>
                  <a:cubicBezTo>
                    <a:pt x="1401882" y="3699754"/>
                    <a:pt x="1566166" y="3535743"/>
                    <a:pt x="1566166" y="3333424"/>
                  </a:cubicBezTo>
                  <a:cubicBezTo>
                    <a:pt x="1566166" y="3206974"/>
                    <a:pt x="1501993" y="3095489"/>
                    <a:pt x="1404386" y="3029656"/>
                  </a:cubicBezTo>
                  <a:lnTo>
                    <a:pt x="1365688" y="3008687"/>
                  </a:lnTo>
                  <a:lnTo>
                    <a:pt x="1365688" y="2601587"/>
                  </a:lnTo>
                  <a:lnTo>
                    <a:pt x="2643894" y="2089845"/>
                  </a:lnTo>
                  <a:lnTo>
                    <a:pt x="2643896" y="2089845"/>
                  </a:lnTo>
                  <a:lnTo>
                    <a:pt x="2643896" y="2089844"/>
                  </a:lnTo>
                  <a:lnTo>
                    <a:pt x="2643896" y="1685585"/>
                  </a:lnTo>
                  <a:lnTo>
                    <a:pt x="2706534" y="1666173"/>
                  </a:lnTo>
                  <a:cubicBezTo>
                    <a:pt x="2838233" y="1610561"/>
                    <a:pt x="2930642" y="1480370"/>
                    <a:pt x="2930642" y="1328631"/>
                  </a:cubicBezTo>
                  <a:cubicBezTo>
                    <a:pt x="2930642" y="1126312"/>
                    <a:pt x="2766358" y="962300"/>
                    <a:pt x="2563704" y="962300"/>
                  </a:cubicBezTo>
                  <a:cubicBezTo>
                    <a:pt x="2361050" y="962300"/>
                    <a:pt x="2196767" y="1126312"/>
                    <a:pt x="2196767" y="1328631"/>
                  </a:cubicBezTo>
                  <a:cubicBezTo>
                    <a:pt x="2196767" y="1480370"/>
                    <a:pt x="2289176" y="1610561"/>
                    <a:pt x="2420875" y="1666173"/>
                  </a:cubicBezTo>
                  <a:lnTo>
                    <a:pt x="2472578" y="1682195"/>
                  </a:lnTo>
                  <a:lnTo>
                    <a:pt x="2472578" y="1989768"/>
                  </a:lnTo>
                  <a:lnTo>
                    <a:pt x="1365688" y="2432921"/>
                  </a:lnTo>
                  <a:lnTo>
                    <a:pt x="1365688" y="2319485"/>
                  </a:lnTo>
                  <a:lnTo>
                    <a:pt x="1285497" y="2352557"/>
                  </a:lnTo>
                  <a:lnTo>
                    <a:pt x="1285497" y="1677574"/>
                  </a:lnTo>
                  <a:lnTo>
                    <a:pt x="1342059" y="1666174"/>
                  </a:lnTo>
                  <a:cubicBezTo>
                    <a:pt x="1473758" y="1610561"/>
                    <a:pt x="1566167" y="1480371"/>
                    <a:pt x="1566167" y="1328631"/>
                  </a:cubicBezTo>
                  <a:cubicBezTo>
                    <a:pt x="1566167" y="1126312"/>
                    <a:pt x="1401883" y="962300"/>
                    <a:pt x="1199230" y="962300"/>
                  </a:cubicBezTo>
                  <a:close/>
                  <a:moveTo>
                    <a:pt x="146260" y="652469"/>
                  </a:moveTo>
                  <a:cubicBezTo>
                    <a:pt x="2621198" y="652469"/>
                    <a:pt x="2621198" y="652469"/>
                    <a:pt x="2621198" y="652469"/>
                  </a:cubicBezTo>
                  <a:cubicBezTo>
                    <a:pt x="3610600" y="652469"/>
                    <a:pt x="3610600" y="652469"/>
                    <a:pt x="3610600" y="652469"/>
                  </a:cubicBezTo>
                  <a:cubicBezTo>
                    <a:pt x="3690899" y="652469"/>
                    <a:pt x="3756859" y="718341"/>
                    <a:pt x="3756859" y="798533"/>
                  </a:cubicBezTo>
                  <a:cubicBezTo>
                    <a:pt x="3756859" y="3834362"/>
                    <a:pt x="3756859" y="3834362"/>
                    <a:pt x="3756859" y="3834362"/>
                  </a:cubicBezTo>
                  <a:cubicBezTo>
                    <a:pt x="3756859" y="3914553"/>
                    <a:pt x="3690899" y="3980425"/>
                    <a:pt x="3610600" y="3980425"/>
                  </a:cubicBezTo>
                  <a:cubicBezTo>
                    <a:pt x="146260" y="3980425"/>
                    <a:pt x="146260" y="3980425"/>
                    <a:pt x="146260" y="3980425"/>
                  </a:cubicBezTo>
                  <a:cubicBezTo>
                    <a:pt x="65960" y="3980425"/>
                    <a:pt x="0" y="3914553"/>
                    <a:pt x="0" y="3834362"/>
                  </a:cubicBezTo>
                  <a:cubicBezTo>
                    <a:pt x="0" y="798533"/>
                    <a:pt x="0" y="798533"/>
                    <a:pt x="0" y="798533"/>
                  </a:cubicBezTo>
                  <a:cubicBezTo>
                    <a:pt x="0" y="718341"/>
                    <a:pt x="65960" y="652469"/>
                    <a:pt x="146260" y="652469"/>
                  </a:cubicBezTo>
                  <a:close/>
                  <a:moveTo>
                    <a:pt x="510695" y="320767"/>
                  </a:moveTo>
                  <a:cubicBezTo>
                    <a:pt x="1508540" y="320767"/>
                    <a:pt x="1508540" y="320767"/>
                    <a:pt x="1508540" y="320767"/>
                  </a:cubicBezTo>
                  <a:cubicBezTo>
                    <a:pt x="2904949" y="320767"/>
                    <a:pt x="2904949" y="320767"/>
                    <a:pt x="2904949" y="320767"/>
                  </a:cubicBezTo>
                  <a:cubicBezTo>
                    <a:pt x="3246166" y="320767"/>
                    <a:pt x="3246166" y="320767"/>
                    <a:pt x="3246166" y="320767"/>
                  </a:cubicBezTo>
                  <a:cubicBezTo>
                    <a:pt x="3343657" y="320767"/>
                    <a:pt x="3423943" y="400930"/>
                    <a:pt x="3423943" y="498270"/>
                  </a:cubicBezTo>
                  <a:lnTo>
                    <a:pt x="3423943" y="606651"/>
                  </a:lnTo>
                  <a:lnTo>
                    <a:pt x="332918" y="606651"/>
                  </a:lnTo>
                  <a:lnTo>
                    <a:pt x="332918" y="588960"/>
                  </a:lnTo>
                  <a:cubicBezTo>
                    <a:pt x="332918" y="498270"/>
                    <a:pt x="332918" y="498270"/>
                    <a:pt x="332918" y="498270"/>
                  </a:cubicBezTo>
                  <a:cubicBezTo>
                    <a:pt x="332918" y="400930"/>
                    <a:pt x="413205" y="320767"/>
                    <a:pt x="510695" y="320767"/>
                  </a:cubicBezTo>
                  <a:close/>
                  <a:moveTo>
                    <a:pt x="826572" y="0"/>
                  </a:moveTo>
                  <a:cubicBezTo>
                    <a:pt x="1595130" y="0"/>
                    <a:pt x="1595130" y="0"/>
                    <a:pt x="1595130" y="0"/>
                  </a:cubicBezTo>
                  <a:cubicBezTo>
                    <a:pt x="2593108" y="0"/>
                    <a:pt x="2593108" y="0"/>
                    <a:pt x="2593108" y="0"/>
                  </a:cubicBezTo>
                  <a:cubicBezTo>
                    <a:pt x="2931503" y="0"/>
                    <a:pt x="2931503" y="0"/>
                    <a:pt x="2931503" y="0"/>
                  </a:cubicBezTo>
                  <a:cubicBezTo>
                    <a:pt x="3008932" y="0"/>
                    <a:pt x="3069155" y="80163"/>
                    <a:pt x="3069155" y="177503"/>
                  </a:cubicBezTo>
                  <a:lnTo>
                    <a:pt x="3069155" y="275143"/>
                  </a:lnTo>
                  <a:lnTo>
                    <a:pt x="688920" y="275143"/>
                  </a:lnTo>
                  <a:lnTo>
                    <a:pt x="688920" y="268193"/>
                  </a:lnTo>
                  <a:cubicBezTo>
                    <a:pt x="688920" y="177503"/>
                    <a:pt x="688920" y="177503"/>
                    <a:pt x="688920" y="177503"/>
                  </a:cubicBezTo>
                  <a:cubicBezTo>
                    <a:pt x="688920" y="80163"/>
                    <a:pt x="749143" y="0"/>
                    <a:pt x="826572" y="0"/>
                  </a:cubicBezTo>
                  <a:close/>
                </a:path>
              </a:pathLst>
            </a:custGeom>
            <a:solidFill>
              <a:srgbClr val="0F78D4"/>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25" name="Group 124">
            <a:extLst>
              <a:ext uri="{FF2B5EF4-FFF2-40B4-BE49-F238E27FC236}">
                <a16:creationId xmlns:a16="http://schemas.microsoft.com/office/drawing/2014/main" id="{1391DC53-4C9C-456B-A1E6-38A4A5DC02D1}"/>
              </a:ext>
            </a:extLst>
          </p:cNvPr>
          <p:cNvGrpSpPr/>
          <p:nvPr/>
        </p:nvGrpSpPr>
        <p:grpSpPr>
          <a:xfrm>
            <a:off x="4738289" y="2769595"/>
            <a:ext cx="1650003" cy="1053800"/>
            <a:chOff x="4662248" y="2969887"/>
            <a:chExt cx="1650003" cy="1053800"/>
          </a:xfrm>
        </p:grpSpPr>
        <p:sp>
          <p:nvSpPr>
            <p:cNvPr id="71" name="Rectangle 70">
              <a:extLst>
                <a:ext uri="{FF2B5EF4-FFF2-40B4-BE49-F238E27FC236}">
                  <a16:creationId xmlns:a16="http://schemas.microsoft.com/office/drawing/2014/main" id="{B06ACBA4-E1F9-4109-A2C4-FA4DD6E3CD9F}"/>
                </a:ext>
              </a:extLst>
            </p:cNvPr>
            <p:cNvSpPr/>
            <p:nvPr/>
          </p:nvSpPr>
          <p:spPr>
            <a:xfrm>
              <a:off x="4662248" y="3562022"/>
              <a:ext cx="1650003" cy="461665"/>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Pipelines &amp; Test Plans</a:t>
              </a:r>
            </a:p>
            <a:p>
              <a:pPr algn="ctr" defTabSz="895497">
                <a:defRPr/>
              </a:pPr>
              <a:r>
                <a:rPr lang="en-US" sz="1200">
                  <a:solidFill>
                    <a:srgbClr val="000000"/>
                  </a:solidFill>
                  <a:latin typeface="Segoe UI" panose="020B0502040204020203" pitchFamily="34" charset="0"/>
                  <a:cs typeface="Segoe UI" panose="020B0502040204020203" pitchFamily="34" charset="0"/>
                </a:rPr>
                <a:t>(Azure DevOps)</a:t>
              </a:r>
            </a:p>
          </p:txBody>
        </p:sp>
        <p:sp>
          <p:nvSpPr>
            <p:cNvPr id="134" name="Freeform: Shape 133">
              <a:extLst>
                <a:ext uri="{FF2B5EF4-FFF2-40B4-BE49-F238E27FC236}">
                  <a16:creationId xmlns:a16="http://schemas.microsoft.com/office/drawing/2014/main" id="{31F7577F-A0F7-4A77-897C-5F1DC8E07E66}"/>
                </a:ext>
              </a:extLst>
            </p:cNvPr>
            <p:cNvSpPr>
              <a:spLocks noChangeAspect="1"/>
            </p:cNvSpPr>
            <p:nvPr/>
          </p:nvSpPr>
          <p:spPr bwMode="auto">
            <a:xfrm>
              <a:off x="5235789" y="2969887"/>
              <a:ext cx="502920" cy="502758"/>
            </a:xfrm>
            <a:custGeom>
              <a:avLst/>
              <a:gdLst>
                <a:gd name="connsiteX0" fmla="*/ 0 w 3242535"/>
                <a:gd name="connsiteY0" fmla="*/ 2435711 h 3241496"/>
                <a:gd name="connsiteX1" fmla="*/ 233253 w 3242535"/>
                <a:gd name="connsiteY1" fmla="*/ 2435711 h 3241496"/>
                <a:gd name="connsiteX2" fmla="*/ 233253 w 3242535"/>
                <a:gd name="connsiteY2" fmla="*/ 3008243 h 3241496"/>
                <a:gd name="connsiteX3" fmla="*/ 806963 w 3242535"/>
                <a:gd name="connsiteY3" fmla="*/ 3008243 h 3241496"/>
                <a:gd name="connsiteX4" fmla="*/ 806963 w 3242535"/>
                <a:gd name="connsiteY4" fmla="*/ 3241496 h 3241496"/>
                <a:gd name="connsiteX5" fmla="*/ 0 w 3242535"/>
                <a:gd name="connsiteY5" fmla="*/ 3241496 h 3241496"/>
                <a:gd name="connsiteX6" fmla="*/ 2446806 w 3242535"/>
                <a:gd name="connsiteY6" fmla="*/ 2102324 h 3241496"/>
                <a:gd name="connsiteX7" fmla="*/ 2446806 w 3242535"/>
                <a:gd name="connsiteY7" fmla="*/ 3133136 h 3241496"/>
                <a:gd name="connsiteX8" fmla="*/ 2338390 w 3242535"/>
                <a:gd name="connsiteY8" fmla="*/ 3241496 h 3241496"/>
                <a:gd name="connsiteX9" fmla="*/ 1546116 w 3242535"/>
                <a:gd name="connsiteY9" fmla="*/ 3241496 h 3241496"/>
                <a:gd name="connsiteX10" fmla="*/ 1537777 w 3242535"/>
                <a:gd name="connsiteY10" fmla="*/ 3238718 h 3241496"/>
                <a:gd name="connsiteX11" fmla="*/ 1081872 w 3242535"/>
                <a:gd name="connsiteY11" fmla="*/ 2788606 h 3241496"/>
                <a:gd name="connsiteX12" fmla="*/ 1081872 w 3242535"/>
                <a:gd name="connsiteY12" fmla="*/ 2771935 h 3241496"/>
                <a:gd name="connsiteX13" fmla="*/ 1218087 w 3242535"/>
                <a:gd name="connsiteY13" fmla="*/ 2638569 h 3241496"/>
                <a:gd name="connsiteX14" fmla="*/ 1329284 w 3242535"/>
                <a:gd name="connsiteY14" fmla="*/ 2752486 h 3241496"/>
                <a:gd name="connsiteX15" fmla="*/ 1393221 w 3242535"/>
                <a:gd name="connsiteY15" fmla="*/ 2780270 h 3241496"/>
                <a:gd name="connsiteX16" fmla="*/ 1440480 w 3242535"/>
                <a:gd name="connsiteY16" fmla="*/ 2766378 h 3241496"/>
                <a:gd name="connsiteX17" fmla="*/ 1709110 w 3242535"/>
                <a:gd name="connsiteY17" fmla="*/ 1334446 h 3241496"/>
                <a:gd name="connsiteX18" fmla="*/ 1718851 w 3242535"/>
                <a:gd name="connsiteY18" fmla="*/ 1338611 h 3241496"/>
                <a:gd name="connsiteX19" fmla="*/ 1896981 w 3242535"/>
                <a:gd name="connsiteY19" fmla="*/ 1519093 h 3241496"/>
                <a:gd name="connsiteX20" fmla="*/ 1896981 w 3242535"/>
                <a:gd name="connsiteY20" fmla="*/ 1538529 h 3241496"/>
                <a:gd name="connsiteX21" fmla="*/ 867170 w 3242535"/>
                <a:gd name="connsiteY21" fmla="*/ 2540895 h 3241496"/>
                <a:gd name="connsiteX22" fmla="*/ 847688 w 3242535"/>
                <a:gd name="connsiteY22" fmla="*/ 2540895 h 3241496"/>
                <a:gd name="connsiteX23" fmla="*/ 741923 w 3242535"/>
                <a:gd name="connsiteY23" fmla="*/ 2429829 h 3241496"/>
                <a:gd name="connsiteX24" fmla="*/ 669559 w 3242535"/>
                <a:gd name="connsiteY24" fmla="*/ 2357637 h 3241496"/>
                <a:gd name="connsiteX25" fmla="*/ 669559 w 3242535"/>
                <a:gd name="connsiteY25" fmla="*/ 2338201 h 3241496"/>
                <a:gd name="connsiteX26" fmla="*/ 1699368 w 3242535"/>
                <a:gd name="connsiteY26" fmla="*/ 1338611 h 3241496"/>
                <a:gd name="connsiteX27" fmla="*/ 1709110 w 3242535"/>
                <a:gd name="connsiteY27" fmla="*/ 1334446 h 3241496"/>
                <a:gd name="connsiteX28" fmla="*/ 108494 w 3242535"/>
                <a:gd name="connsiteY28" fmla="*/ 797046 h 3241496"/>
                <a:gd name="connsiteX29" fmla="*/ 1146141 w 3242535"/>
                <a:gd name="connsiteY29" fmla="*/ 797046 h 3241496"/>
                <a:gd name="connsiteX30" fmla="*/ 1154487 w 3242535"/>
                <a:gd name="connsiteY30" fmla="*/ 797046 h 3241496"/>
                <a:gd name="connsiteX31" fmla="*/ 492395 w 3242535"/>
                <a:gd name="connsiteY31" fmla="*/ 1797131 h 3241496"/>
                <a:gd name="connsiteX32" fmla="*/ 503523 w 3242535"/>
                <a:gd name="connsiteY32" fmla="*/ 1908251 h 3241496"/>
                <a:gd name="connsiteX33" fmla="*/ 623145 w 3242535"/>
                <a:gd name="connsiteY33" fmla="*/ 2030484 h 3241496"/>
                <a:gd name="connsiteX34" fmla="*/ 475704 w 3242535"/>
                <a:gd name="connsiteY34" fmla="*/ 2172162 h 3241496"/>
                <a:gd name="connsiteX35" fmla="*/ 459013 w 3242535"/>
                <a:gd name="connsiteY35" fmla="*/ 2172162 h 3241496"/>
                <a:gd name="connsiteX36" fmla="*/ 2782 w 3242535"/>
                <a:gd name="connsiteY36" fmla="*/ 1722124 h 3241496"/>
                <a:gd name="connsiteX37" fmla="*/ 0 w 3242535"/>
                <a:gd name="connsiteY37" fmla="*/ 1713790 h 3241496"/>
                <a:gd name="connsiteX38" fmla="*/ 0 w 3242535"/>
                <a:gd name="connsiteY38" fmla="*/ 905389 h 3241496"/>
                <a:gd name="connsiteX39" fmla="*/ 108494 w 3242535"/>
                <a:gd name="connsiteY39" fmla="*/ 797046 h 3241496"/>
                <a:gd name="connsiteX40" fmla="*/ 2453442 w 3242535"/>
                <a:gd name="connsiteY40" fmla="*/ 403487 h 3241496"/>
                <a:gd name="connsiteX41" fmla="*/ 2157833 w 3242535"/>
                <a:gd name="connsiteY41" fmla="*/ 522120 h 3241496"/>
                <a:gd name="connsiteX42" fmla="*/ 2152268 w 3242535"/>
                <a:gd name="connsiteY42" fmla="*/ 1107653 h 3241496"/>
                <a:gd name="connsiteX43" fmla="*/ 2739312 w 3242535"/>
                <a:gd name="connsiteY43" fmla="*/ 1115978 h 3241496"/>
                <a:gd name="connsiteX44" fmla="*/ 2744877 w 3242535"/>
                <a:gd name="connsiteY44" fmla="*/ 530445 h 3241496"/>
                <a:gd name="connsiteX45" fmla="*/ 2453442 w 3242535"/>
                <a:gd name="connsiteY45" fmla="*/ 403487 h 3241496"/>
                <a:gd name="connsiteX46" fmla="*/ 2704465 w 3242535"/>
                <a:gd name="connsiteY46" fmla="*/ 13 h 3241496"/>
                <a:gd name="connsiteX47" fmla="*/ 3142538 w 3242535"/>
                <a:gd name="connsiteY47" fmla="*/ 38262 h 3241496"/>
                <a:gd name="connsiteX48" fmla="*/ 3217628 w 3242535"/>
                <a:gd name="connsiteY48" fmla="*/ 116034 h 3241496"/>
                <a:gd name="connsiteX49" fmla="*/ 2583533 w 3242535"/>
                <a:gd name="connsiteY49" fmla="*/ 1957555 h 3241496"/>
                <a:gd name="connsiteX50" fmla="*/ 1418245 w 3242535"/>
                <a:gd name="connsiteY50" fmla="*/ 2726938 h 3241496"/>
                <a:gd name="connsiteX51" fmla="*/ 1359842 w 3242535"/>
                <a:gd name="connsiteY51" fmla="*/ 2721383 h 3241496"/>
                <a:gd name="connsiteX52" fmla="*/ 1059481 w 3242535"/>
                <a:gd name="connsiteY52" fmla="*/ 2413074 h 3241496"/>
                <a:gd name="connsiteX53" fmla="*/ 1927190 w 3242535"/>
                <a:gd name="connsiteY53" fmla="*/ 1568697 h 3241496"/>
                <a:gd name="connsiteX54" fmla="*/ 1943876 w 3242535"/>
                <a:gd name="connsiteY54" fmla="*/ 1529811 h 3241496"/>
                <a:gd name="connsiteX55" fmla="*/ 1927190 w 3242535"/>
                <a:gd name="connsiteY55" fmla="*/ 1488147 h 3241496"/>
                <a:gd name="connsiteX56" fmla="*/ 1749198 w 3242535"/>
                <a:gd name="connsiteY56" fmla="*/ 1307606 h 3241496"/>
                <a:gd name="connsiteX57" fmla="*/ 1707481 w 3242535"/>
                <a:gd name="connsiteY57" fmla="*/ 1288163 h 3241496"/>
                <a:gd name="connsiteX58" fmla="*/ 1668546 w 3242535"/>
                <a:gd name="connsiteY58" fmla="*/ 1304829 h 3241496"/>
                <a:gd name="connsiteX59" fmla="*/ 800837 w 3242535"/>
                <a:gd name="connsiteY59" fmla="*/ 2149206 h 3241496"/>
                <a:gd name="connsiteX60" fmla="*/ 533850 w 3242535"/>
                <a:gd name="connsiteY60" fmla="*/ 1874228 h 3241496"/>
                <a:gd name="connsiteX61" fmla="*/ 528288 w 3242535"/>
                <a:gd name="connsiteY61" fmla="*/ 1818677 h 3241496"/>
                <a:gd name="connsiteX62" fmla="*/ 1309781 w 3242535"/>
                <a:gd name="connsiteY62" fmla="*/ 643770 h 3241496"/>
                <a:gd name="connsiteX63" fmla="*/ 2704465 w 3242535"/>
                <a:gd name="connsiteY63" fmla="*/ 13 h 324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242535" h="3241496">
                  <a:moveTo>
                    <a:pt x="0" y="2435711"/>
                  </a:moveTo>
                  <a:lnTo>
                    <a:pt x="233253" y="2435711"/>
                  </a:lnTo>
                  <a:lnTo>
                    <a:pt x="233253" y="3008243"/>
                  </a:lnTo>
                  <a:lnTo>
                    <a:pt x="806963" y="3008243"/>
                  </a:lnTo>
                  <a:lnTo>
                    <a:pt x="806963" y="3241496"/>
                  </a:lnTo>
                  <a:lnTo>
                    <a:pt x="0" y="3241496"/>
                  </a:lnTo>
                  <a:close/>
                  <a:moveTo>
                    <a:pt x="2446806" y="2102324"/>
                  </a:moveTo>
                  <a:cubicBezTo>
                    <a:pt x="2446806" y="2102324"/>
                    <a:pt x="2446806" y="2102324"/>
                    <a:pt x="2446806" y="3133136"/>
                  </a:cubicBezTo>
                  <a:cubicBezTo>
                    <a:pt x="2446806" y="3194262"/>
                    <a:pt x="2396768" y="3241496"/>
                    <a:pt x="2338390" y="3241496"/>
                  </a:cubicBezTo>
                  <a:cubicBezTo>
                    <a:pt x="2338390" y="3241496"/>
                    <a:pt x="2338390" y="3241496"/>
                    <a:pt x="1546116" y="3241496"/>
                  </a:cubicBezTo>
                  <a:cubicBezTo>
                    <a:pt x="1543336" y="3241496"/>
                    <a:pt x="1540556" y="3241496"/>
                    <a:pt x="1537777" y="3238718"/>
                  </a:cubicBezTo>
                  <a:cubicBezTo>
                    <a:pt x="1537777" y="3238718"/>
                    <a:pt x="1537777" y="3238718"/>
                    <a:pt x="1081872" y="2788606"/>
                  </a:cubicBezTo>
                  <a:cubicBezTo>
                    <a:pt x="1079092" y="2783049"/>
                    <a:pt x="1079092" y="2774714"/>
                    <a:pt x="1081872" y="2771935"/>
                  </a:cubicBezTo>
                  <a:cubicBezTo>
                    <a:pt x="1081872" y="2771935"/>
                    <a:pt x="1081872" y="2771935"/>
                    <a:pt x="1218087" y="2638569"/>
                  </a:cubicBezTo>
                  <a:cubicBezTo>
                    <a:pt x="1218087" y="2638569"/>
                    <a:pt x="1218087" y="2638569"/>
                    <a:pt x="1329284" y="2752486"/>
                  </a:cubicBezTo>
                  <a:cubicBezTo>
                    <a:pt x="1345963" y="2771935"/>
                    <a:pt x="1368202" y="2780270"/>
                    <a:pt x="1393221" y="2780270"/>
                  </a:cubicBezTo>
                  <a:cubicBezTo>
                    <a:pt x="1409901" y="2780270"/>
                    <a:pt x="1426580" y="2774714"/>
                    <a:pt x="1440480" y="2766378"/>
                  </a:cubicBezTo>
                  <a:close/>
                  <a:moveTo>
                    <a:pt x="1709110" y="1334446"/>
                  </a:moveTo>
                  <a:cubicBezTo>
                    <a:pt x="1712589" y="1334446"/>
                    <a:pt x="1716068" y="1335835"/>
                    <a:pt x="1718851" y="1338611"/>
                  </a:cubicBezTo>
                  <a:cubicBezTo>
                    <a:pt x="1718851" y="1338611"/>
                    <a:pt x="1718851" y="1338611"/>
                    <a:pt x="1896981" y="1519093"/>
                  </a:cubicBezTo>
                  <a:cubicBezTo>
                    <a:pt x="1902547" y="1524646"/>
                    <a:pt x="1902547" y="1532976"/>
                    <a:pt x="1896981" y="1538529"/>
                  </a:cubicBezTo>
                  <a:cubicBezTo>
                    <a:pt x="1896981" y="1538529"/>
                    <a:pt x="1896981" y="1538529"/>
                    <a:pt x="867170" y="2540895"/>
                  </a:cubicBezTo>
                  <a:cubicBezTo>
                    <a:pt x="861604" y="2546448"/>
                    <a:pt x="853254" y="2543672"/>
                    <a:pt x="847688" y="2540895"/>
                  </a:cubicBezTo>
                  <a:cubicBezTo>
                    <a:pt x="847688" y="2540895"/>
                    <a:pt x="847688" y="2540895"/>
                    <a:pt x="741923" y="2429829"/>
                  </a:cubicBezTo>
                  <a:cubicBezTo>
                    <a:pt x="741923" y="2429829"/>
                    <a:pt x="741923" y="2429829"/>
                    <a:pt x="669559" y="2357637"/>
                  </a:cubicBezTo>
                  <a:cubicBezTo>
                    <a:pt x="666775" y="2352084"/>
                    <a:pt x="666775" y="2343754"/>
                    <a:pt x="669559" y="2338201"/>
                  </a:cubicBezTo>
                  <a:cubicBezTo>
                    <a:pt x="669559" y="2338201"/>
                    <a:pt x="669559" y="2338201"/>
                    <a:pt x="1699368" y="1338611"/>
                  </a:cubicBezTo>
                  <a:cubicBezTo>
                    <a:pt x="1702152" y="1335835"/>
                    <a:pt x="1705631" y="1334446"/>
                    <a:pt x="1709110" y="1334446"/>
                  </a:cubicBezTo>
                  <a:close/>
                  <a:moveTo>
                    <a:pt x="108494" y="797046"/>
                  </a:moveTo>
                  <a:cubicBezTo>
                    <a:pt x="108494" y="797046"/>
                    <a:pt x="108494" y="797046"/>
                    <a:pt x="1146141" y="797046"/>
                  </a:cubicBezTo>
                  <a:cubicBezTo>
                    <a:pt x="1146141" y="797046"/>
                    <a:pt x="1146141" y="797046"/>
                    <a:pt x="1154487" y="797046"/>
                  </a:cubicBezTo>
                  <a:cubicBezTo>
                    <a:pt x="1154487" y="797046"/>
                    <a:pt x="1154487" y="797046"/>
                    <a:pt x="492395" y="1797131"/>
                  </a:cubicBezTo>
                  <a:cubicBezTo>
                    <a:pt x="470140" y="1830467"/>
                    <a:pt x="472922" y="1877693"/>
                    <a:pt x="503523" y="1908251"/>
                  </a:cubicBezTo>
                  <a:lnTo>
                    <a:pt x="623145" y="2030484"/>
                  </a:lnTo>
                  <a:cubicBezTo>
                    <a:pt x="623145" y="2030484"/>
                    <a:pt x="623145" y="2030484"/>
                    <a:pt x="475704" y="2172162"/>
                  </a:cubicBezTo>
                  <a:cubicBezTo>
                    <a:pt x="472922" y="2177718"/>
                    <a:pt x="464576" y="2177718"/>
                    <a:pt x="459013" y="2172162"/>
                  </a:cubicBezTo>
                  <a:cubicBezTo>
                    <a:pt x="459013" y="2172162"/>
                    <a:pt x="459013" y="2172162"/>
                    <a:pt x="2782" y="1722124"/>
                  </a:cubicBezTo>
                  <a:cubicBezTo>
                    <a:pt x="0" y="1719346"/>
                    <a:pt x="0" y="1716568"/>
                    <a:pt x="0" y="1713790"/>
                  </a:cubicBezTo>
                  <a:cubicBezTo>
                    <a:pt x="0" y="1713790"/>
                    <a:pt x="0" y="1713790"/>
                    <a:pt x="0" y="905389"/>
                  </a:cubicBezTo>
                  <a:cubicBezTo>
                    <a:pt x="0" y="847050"/>
                    <a:pt x="47292" y="797046"/>
                    <a:pt x="108494" y="797046"/>
                  </a:cubicBezTo>
                  <a:close/>
                  <a:moveTo>
                    <a:pt x="2453442" y="403487"/>
                  </a:moveTo>
                  <a:cubicBezTo>
                    <a:pt x="2347023" y="402100"/>
                    <a:pt x="2239908" y="441644"/>
                    <a:pt x="2157833" y="522120"/>
                  </a:cubicBezTo>
                  <a:cubicBezTo>
                    <a:pt x="1993683" y="680297"/>
                    <a:pt x="1990901" y="943926"/>
                    <a:pt x="2152268" y="1107653"/>
                  </a:cubicBezTo>
                  <a:cubicBezTo>
                    <a:pt x="2310854" y="1271380"/>
                    <a:pt x="2575163" y="1274155"/>
                    <a:pt x="2739312" y="1115978"/>
                  </a:cubicBezTo>
                  <a:cubicBezTo>
                    <a:pt x="2903462" y="955026"/>
                    <a:pt x="2906244" y="694173"/>
                    <a:pt x="2744877" y="530445"/>
                  </a:cubicBezTo>
                  <a:cubicBezTo>
                    <a:pt x="2665584" y="447194"/>
                    <a:pt x="2559860" y="404875"/>
                    <a:pt x="2453442" y="403487"/>
                  </a:cubicBezTo>
                  <a:close/>
                  <a:moveTo>
                    <a:pt x="2704465" y="13"/>
                  </a:moveTo>
                  <a:cubicBezTo>
                    <a:pt x="2899897" y="613"/>
                    <a:pt x="3059105" y="23506"/>
                    <a:pt x="3142538" y="38262"/>
                  </a:cubicBezTo>
                  <a:cubicBezTo>
                    <a:pt x="3181474" y="46595"/>
                    <a:pt x="3212066" y="77148"/>
                    <a:pt x="3217628" y="116034"/>
                  </a:cubicBezTo>
                  <a:cubicBezTo>
                    <a:pt x="3253783" y="393789"/>
                    <a:pt x="3353903" y="1507590"/>
                    <a:pt x="2583533" y="1957555"/>
                  </a:cubicBezTo>
                  <a:cubicBezTo>
                    <a:pt x="2583533" y="1957555"/>
                    <a:pt x="2583533" y="1957555"/>
                    <a:pt x="1418245" y="2726938"/>
                  </a:cubicBezTo>
                  <a:cubicBezTo>
                    <a:pt x="1398777" y="2740826"/>
                    <a:pt x="1376528" y="2738049"/>
                    <a:pt x="1359842" y="2721383"/>
                  </a:cubicBezTo>
                  <a:cubicBezTo>
                    <a:pt x="1359842" y="2721383"/>
                    <a:pt x="1359842" y="2721383"/>
                    <a:pt x="1059481" y="2413074"/>
                  </a:cubicBezTo>
                  <a:cubicBezTo>
                    <a:pt x="1059481" y="2413074"/>
                    <a:pt x="1059481" y="2413074"/>
                    <a:pt x="1927190" y="1568697"/>
                  </a:cubicBezTo>
                  <a:cubicBezTo>
                    <a:pt x="1938314" y="1560364"/>
                    <a:pt x="1943876" y="1543699"/>
                    <a:pt x="1943876" y="1529811"/>
                  </a:cubicBezTo>
                  <a:cubicBezTo>
                    <a:pt x="1943876" y="1513145"/>
                    <a:pt x="1938314" y="1499258"/>
                    <a:pt x="1927190" y="1488147"/>
                  </a:cubicBezTo>
                  <a:cubicBezTo>
                    <a:pt x="1927190" y="1488147"/>
                    <a:pt x="1927190" y="1488147"/>
                    <a:pt x="1749198" y="1307606"/>
                  </a:cubicBezTo>
                  <a:cubicBezTo>
                    <a:pt x="1738074" y="1296496"/>
                    <a:pt x="1724168" y="1288163"/>
                    <a:pt x="1707481" y="1288163"/>
                  </a:cubicBezTo>
                  <a:cubicBezTo>
                    <a:pt x="1693576" y="1288163"/>
                    <a:pt x="1679670" y="1293718"/>
                    <a:pt x="1668546" y="1304829"/>
                  </a:cubicBezTo>
                  <a:cubicBezTo>
                    <a:pt x="1668546" y="1304829"/>
                    <a:pt x="1668546" y="1304829"/>
                    <a:pt x="800837" y="2149206"/>
                  </a:cubicBezTo>
                  <a:cubicBezTo>
                    <a:pt x="800837" y="2149206"/>
                    <a:pt x="800837" y="2149206"/>
                    <a:pt x="533850" y="1874228"/>
                  </a:cubicBezTo>
                  <a:cubicBezTo>
                    <a:pt x="519944" y="1860340"/>
                    <a:pt x="517163" y="1838120"/>
                    <a:pt x="528288" y="1818677"/>
                  </a:cubicBezTo>
                  <a:cubicBezTo>
                    <a:pt x="528288" y="1818677"/>
                    <a:pt x="528288" y="1818677"/>
                    <a:pt x="1309781" y="643770"/>
                  </a:cubicBezTo>
                  <a:cubicBezTo>
                    <a:pt x="1669241" y="105271"/>
                    <a:pt x="2274515" y="-1307"/>
                    <a:pt x="2704465" y="13"/>
                  </a:cubicBezTo>
                  <a:close/>
                </a:path>
              </a:pathLst>
            </a:custGeom>
            <a:solidFill>
              <a:srgbClr val="0F78D4"/>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26" name="Group 125">
            <a:extLst>
              <a:ext uri="{FF2B5EF4-FFF2-40B4-BE49-F238E27FC236}">
                <a16:creationId xmlns:a16="http://schemas.microsoft.com/office/drawing/2014/main" id="{EA9E7988-7C1B-4B3B-BFE1-7557B5CDFBF9}"/>
              </a:ext>
            </a:extLst>
          </p:cNvPr>
          <p:cNvGrpSpPr/>
          <p:nvPr/>
        </p:nvGrpSpPr>
        <p:grpSpPr>
          <a:xfrm>
            <a:off x="6368677" y="2769406"/>
            <a:ext cx="1553246" cy="1053989"/>
            <a:chOff x="6473369" y="2969698"/>
            <a:chExt cx="1553246" cy="1053989"/>
          </a:xfrm>
        </p:grpSpPr>
        <p:sp>
          <p:nvSpPr>
            <p:cNvPr id="74" name="Rectangle 73">
              <a:extLst>
                <a:ext uri="{FF2B5EF4-FFF2-40B4-BE49-F238E27FC236}">
                  <a16:creationId xmlns:a16="http://schemas.microsoft.com/office/drawing/2014/main" id="{AD34DBE7-FDB1-43BC-B716-BBEC9B827EBD}"/>
                </a:ext>
              </a:extLst>
            </p:cNvPr>
            <p:cNvSpPr/>
            <p:nvPr/>
          </p:nvSpPr>
          <p:spPr>
            <a:xfrm>
              <a:off x="6473369" y="3562022"/>
              <a:ext cx="1553246" cy="461665"/>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Artifacts &amp; Pipelines</a:t>
              </a:r>
            </a:p>
            <a:p>
              <a:pPr algn="ctr" defTabSz="895497">
                <a:defRPr/>
              </a:pPr>
              <a:r>
                <a:rPr lang="en-US" sz="1200">
                  <a:solidFill>
                    <a:srgbClr val="000000"/>
                  </a:solidFill>
                  <a:latin typeface="Segoe UI" panose="020B0502040204020203" pitchFamily="34" charset="0"/>
                  <a:cs typeface="Segoe UI" panose="020B0502040204020203" pitchFamily="34" charset="0"/>
                </a:rPr>
                <a:t>(Azure DevOps)</a:t>
              </a:r>
            </a:p>
          </p:txBody>
        </p:sp>
        <p:sp>
          <p:nvSpPr>
            <p:cNvPr id="135" name="Freeform: Shape 134">
              <a:extLst>
                <a:ext uri="{FF2B5EF4-FFF2-40B4-BE49-F238E27FC236}">
                  <a16:creationId xmlns:a16="http://schemas.microsoft.com/office/drawing/2014/main" id="{08BD5943-F325-4F28-A4FB-E2960872D71B}"/>
                </a:ext>
              </a:extLst>
            </p:cNvPr>
            <p:cNvSpPr>
              <a:spLocks noChangeAspect="1"/>
            </p:cNvSpPr>
            <p:nvPr/>
          </p:nvSpPr>
          <p:spPr bwMode="auto">
            <a:xfrm>
              <a:off x="6998532" y="2969698"/>
              <a:ext cx="502920" cy="503136"/>
            </a:xfrm>
            <a:custGeom>
              <a:avLst/>
              <a:gdLst>
                <a:gd name="connsiteX0" fmla="*/ 351710 w 831747"/>
                <a:gd name="connsiteY0" fmla="*/ 723538 h 832104"/>
                <a:gd name="connsiteX1" fmla="*/ 347484 w 831747"/>
                <a:gd name="connsiteY1" fmla="*/ 727731 h 832104"/>
                <a:gd name="connsiteX2" fmla="*/ 347484 w 831747"/>
                <a:gd name="connsiteY2" fmla="*/ 757916 h 832104"/>
                <a:gd name="connsiteX3" fmla="*/ 351710 w 831747"/>
                <a:gd name="connsiteY3" fmla="*/ 762108 h 832104"/>
                <a:gd name="connsiteX4" fmla="*/ 469193 w 831747"/>
                <a:gd name="connsiteY4" fmla="*/ 762108 h 832104"/>
                <a:gd name="connsiteX5" fmla="*/ 474264 w 831747"/>
                <a:gd name="connsiteY5" fmla="*/ 757916 h 832104"/>
                <a:gd name="connsiteX6" fmla="*/ 474264 w 831747"/>
                <a:gd name="connsiteY6" fmla="*/ 727731 h 832104"/>
                <a:gd name="connsiteX7" fmla="*/ 469193 w 831747"/>
                <a:gd name="connsiteY7" fmla="*/ 723538 h 832104"/>
                <a:gd name="connsiteX8" fmla="*/ 432849 w 831747"/>
                <a:gd name="connsiteY8" fmla="*/ 723538 h 832104"/>
                <a:gd name="connsiteX9" fmla="*/ 351710 w 831747"/>
                <a:gd name="connsiteY9" fmla="*/ 723538 h 832104"/>
                <a:gd name="connsiteX10" fmla="*/ 352551 w 831747"/>
                <a:gd name="connsiteY10" fmla="*/ 654255 h 832104"/>
                <a:gd name="connsiteX11" fmla="*/ 347484 w 831747"/>
                <a:gd name="connsiteY11" fmla="*/ 659324 h 832104"/>
                <a:gd name="connsiteX12" fmla="*/ 347484 w 831747"/>
                <a:gd name="connsiteY12" fmla="*/ 693114 h 832104"/>
                <a:gd name="connsiteX13" fmla="*/ 352551 w 831747"/>
                <a:gd name="connsiteY13" fmla="*/ 698182 h 832104"/>
                <a:gd name="connsiteX14" fmla="*/ 521451 w 831747"/>
                <a:gd name="connsiteY14" fmla="*/ 698182 h 832104"/>
                <a:gd name="connsiteX15" fmla="*/ 557764 w 831747"/>
                <a:gd name="connsiteY15" fmla="*/ 698182 h 832104"/>
                <a:gd name="connsiteX16" fmla="*/ 562831 w 831747"/>
                <a:gd name="connsiteY16" fmla="*/ 693114 h 832104"/>
                <a:gd name="connsiteX17" fmla="*/ 562831 w 831747"/>
                <a:gd name="connsiteY17" fmla="*/ 659324 h 832104"/>
                <a:gd name="connsiteX18" fmla="*/ 557764 w 831747"/>
                <a:gd name="connsiteY18" fmla="*/ 654255 h 832104"/>
                <a:gd name="connsiteX19" fmla="*/ 352551 w 831747"/>
                <a:gd name="connsiteY19" fmla="*/ 654255 h 832104"/>
                <a:gd name="connsiteX20" fmla="*/ 452249 w 831747"/>
                <a:gd name="connsiteY20" fmla="*/ 486763 h 832104"/>
                <a:gd name="connsiteX21" fmla="*/ 416052 w 831747"/>
                <a:gd name="connsiteY21" fmla="*/ 522119 h 832104"/>
                <a:gd name="connsiteX22" fmla="*/ 452249 w 831747"/>
                <a:gd name="connsiteY22" fmla="*/ 557474 h 832104"/>
                <a:gd name="connsiteX23" fmla="*/ 522119 w 831747"/>
                <a:gd name="connsiteY23" fmla="*/ 557474 h 832104"/>
                <a:gd name="connsiteX24" fmla="*/ 557474 w 831747"/>
                <a:gd name="connsiteY24" fmla="*/ 522119 h 832104"/>
                <a:gd name="connsiteX25" fmla="*/ 522119 w 831747"/>
                <a:gd name="connsiteY25" fmla="*/ 486763 h 832104"/>
                <a:gd name="connsiteX26" fmla="*/ 485921 w 831747"/>
                <a:gd name="connsiteY26" fmla="*/ 486763 h 832104"/>
                <a:gd name="connsiteX27" fmla="*/ 452249 w 831747"/>
                <a:gd name="connsiteY27" fmla="*/ 486763 h 832104"/>
                <a:gd name="connsiteX28" fmla="*/ 684968 w 831747"/>
                <a:gd name="connsiteY28" fmla="*/ 417481 h 832104"/>
                <a:gd name="connsiteX29" fmla="*/ 806440 w 831747"/>
                <a:gd name="connsiteY29" fmla="*/ 417481 h 832104"/>
                <a:gd name="connsiteX30" fmla="*/ 831747 w 831747"/>
                <a:gd name="connsiteY30" fmla="*/ 442763 h 832104"/>
                <a:gd name="connsiteX31" fmla="*/ 831747 w 831747"/>
                <a:gd name="connsiteY31" fmla="*/ 806822 h 832104"/>
                <a:gd name="connsiteX32" fmla="*/ 806440 w 831747"/>
                <a:gd name="connsiteY32" fmla="*/ 832104 h 832104"/>
                <a:gd name="connsiteX33" fmla="*/ 684968 w 831747"/>
                <a:gd name="connsiteY33" fmla="*/ 832104 h 832104"/>
                <a:gd name="connsiteX34" fmla="*/ 684968 w 831747"/>
                <a:gd name="connsiteY34" fmla="*/ 591926 h 832104"/>
                <a:gd name="connsiteX35" fmla="*/ 684968 w 831747"/>
                <a:gd name="connsiteY35" fmla="*/ 417481 h 832104"/>
                <a:gd name="connsiteX36" fmla="*/ 279987 w 831747"/>
                <a:gd name="connsiteY36" fmla="*/ 417481 h 832104"/>
                <a:gd name="connsiteX37" fmla="*/ 671397 w 831747"/>
                <a:gd name="connsiteY37" fmla="*/ 417481 h 832104"/>
                <a:gd name="connsiteX38" fmla="*/ 671397 w 831747"/>
                <a:gd name="connsiteY38" fmla="*/ 832104 h 832104"/>
                <a:gd name="connsiteX39" fmla="*/ 304450 w 831747"/>
                <a:gd name="connsiteY39" fmla="*/ 832104 h 832104"/>
                <a:gd name="connsiteX40" fmla="*/ 279987 w 831747"/>
                <a:gd name="connsiteY40" fmla="*/ 806822 h 832104"/>
                <a:gd name="connsiteX41" fmla="*/ 279987 w 831747"/>
                <a:gd name="connsiteY41" fmla="*/ 417481 h 832104"/>
                <a:gd name="connsiteX42" fmla="*/ 24483 w 831747"/>
                <a:gd name="connsiteY42" fmla="*/ 417481 h 832104"/>
                <a:gd name="connsiteX43" fmla="*/ 266773 w 831747"/>
                <a:gd name="connsiteY43" fmla="*/ 417481 h 832104"/>
                <a:gd name="connsiteX44" fmla="*/ 266773 w 831747"/>
                <a:gd name="connsiteY44" fmla="*/ 466149 h 832104"/>
                <a:gd name="connsiteX45" fmla="*/ 266773 w 831747"/>
                <a:gd name="connsiteY45" fmla="*/ 496865 h 832104"/>
                <a:gd name="connsiteX46" fmla="*/ 242318 w 831747"/>
                <a:gd name="connsiteY46" fmla="*/ 486763 h 832104"/>
                <a:gd name="connsiteX47" fmla="*/ 206057 w 831747"/>
                <a:gd name="connsiteY47" fmla="*/ 486763 h 832104"/>
                <a:gd name="connsiteX48" fmla="*/ 172326 w 831747"/>
                <a:gd name="connsiteY48" fmla="*/ 486763 h 832104"/>
                <a:gd name="connsiteX49" fmla="*/ 136065 w 831747"/>
                <a:gd name="connsiteY49" fmla="*/ 522119 h 832104"/>
                <a:gd name="connsiteX50" fmla="*/ 172326 w 831747"/>
                <a:gd name="connsiteY50" fmla="*/ 557474 h 832104"/>
                <a:gd name="connsiteX51" fmla="*/ 242318 w 831747"/>
                <a:gd name="connsiteY51" fmla="*/ 557474 h 832104"/>
                <a:gd name="connsiteX52" fmla="*/ 266773 w 831747"/>
                <a:gd name="connsiteY52" fmla="*/ 548214 h 832104"/>
                <a:gd name="connsiteX53" fmla="*/ 266773 w 831747"/>
                <a:gd name="connsiteY53" fmla="*/ 581734 h 832104"/>
                <a:gd name="connsiteX54" fmla="*/ 266773 w 831747"/>
                <a:gd name="connsiteY54" fmla="*/ 806822 h 832104"/>
                <a:gd name="connsiteX55" fmla="*/ 276059 w 831747"/>
                <a:gd name="connsiteY55" fmla="*/ 832104 h 832104"/>
                <a:gd name="connsiteX56" fmla="*/ 24483 w 831747"/>
                <a:gd name="connsiteY56" fmla="*/ 832104 h 832104"/>
                <a:gd name="connsiteX57" fmla="*/ 0 w 831747"/>
                <a:gd name="connsiteY57" fmla="*/ 806822 h 832104"/>
                <a:gd name="connsiteX58" fmla="*/ 0 w 831747"/>
                <a:gd name="connsiteY58" fmla="*/ 442763 h 832104"/>
                <a:gd name="connsiteX59" fmla="*/ 24483 w 831747"/>
                <a:gd name="connsiteY59" fmla="*/ 417481 h 832104"/>
                <a:gd name="connsiteX60" fmla="*/ 312996 w 831747"/>
                <a:gd name="connsiteY60" fmla="*/ 69640 h 832104"/>
                <a:gd name="connsiteX61" fmla="*/ 276773 w 831747"/>
                <a:gd name="connsiteY61" fmla="*/ 105889 h 832104"/>
                <a:gd name="connsiteX62" fmla="*/ 312996 w 831747"/>
                <a:gd name="connsiteY62" fmla="*/ 142137 h 832104"/>
                <a:gd name="connsiteX63" fmla="*/ 383758 w 831747"/>
                <a:gd name="connsiteY63" fmla="*/ 142137 h 832104"/>
                <a:gd name="connsiteX64" fmla="*/ 419981 w 831747"/>
                <a:gd name="connsiteY64" fmla="*/ 105889 h 832104"/>
                <a:gd name="connsiteX65" fmla="*/ 383758 w 831747"/>
                <a:gd name="connsiteY65" fmla="*/ 69640 h 832104"/>
                <a:gd name="connsiteX66" fmla="*/ 347535 w 831747"/>
                <a:gd name="connsiteY66" fmla="*/ 69640 h 832104"/>
                <a:gd name="connsiteX67" fmla="*/ 312996 w 831747"/>
                <a:gd name="connsiteY67" fmla="*/ 69640 h 832104"/>
                <a:gd name="connsiteX68" fmla="*/ 549260 w 831747"/>
                <a:gd name="connsiteY68" fmla="*/ 0 h 832104"/>
                <a:gd name="connsiteX69" fmla="*/ 673237 w 831747"/>
                <a:gd name="connsiteY69" fmla="*/ 0 h 832104"/>
                <a:gd name="connsiteX70" fmla="*/ 698539 w 831747"/>
                <a:gd name="connsiteY70" fmla="*/ 25259 h 832104"/>
                <a:gd name="connsiteX71" fmla="*/ 698539 w 831747"/>
                <a:gd name="connsiteY71" fmla="*/ 404981 h 832104"/>
                <a:gd name="connsiteX72" fmla="*/ 549260 w 831747"/>
                <a:gd name="connsiteY72" fmla="*/ 404981 h 832104"/>
                <a:gd name="connsiteX73" fmla="*/ 549260 w 831747"/>
                <a:gd name="connsiteY73" fmla="*/ 0 h 832104"/>
                <a:gd name="connsiteX74" fmla="*/ 163860 w 831747"/>
                <a:gd name="connsiteY74" fmla="*/ 0 h 832104"/>
                <a:gd name="connsiteX75" fmla="*/ 535689 w 831747"/>
                <a:gd name="connsiteY75" fmla="*/ 0 h 832104"/>
                <a:gd name="connsiteX76" fmla="*/ 535689 w 831747"/>
                <a:gd name="connsiteY76" fmla="*/ 404981 h 832104"/>
                <a:gd name="connsiteX77" fmla="*/ 138565 w 831747"/>
                <a:gd name="connsiteY77" fmla="*/ 404981 h 832104"/>
                <a:gd name="connsiteX78" fmla="*/ 138565 w 831747"/>
                <a:gd name="connsiteY78" fmla="*/ 25259 h 832104"/>
                <a:gd name="connsiteX79" fmla="*/ 163860 w 831747"/>
                <a:gd name="connsiteY79" fmla="*/ 0 h 83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31747" h="832104">
                  <a:moveTo>
                    <a:pt x="351710" y="723538"/>
                  </a:moveTo>
                  <a:cubicBezTo>
                    <a:pt x="349174" y="723538"/>
                    <a:pt x="347484" y="725215"/>
                    <a:pt x="347484" y="727731"/>
                  </a:cubicBezTo>
                  <a:cubicBezTo>
                    <a:pt x="347484" y="727731"/>
                    <a:pt x="347484" y="727731"/>
                    <a:pt x="347484" y="757916"/>
                  </a:cubicBezTo>
                  <a:cubicBezTo>
                    <a:pt x="347484" y="760431"/>
                    <a:pt x="349174" y="762108"/>
                    <a:pt x="351710" y="762108"/>
                  </a:cubicBezTo>
                  <a:cubicBezTo>
                    <a:pt x="351710" y="762108"/>
                    <a:pt x="351710" y="762108"/>
                    <a:pt x="469193" y="762108"/>
                  </a:cubicBezTo>
                  <a:cubicBezTo>
                    <a:pt x="471728" y="762108"/>
                    <a:pt x="474264" y="760431"/>
                    <a:pt x="474264" y="757916"/>
                  </a:cubicBezTo>
                  <a:cubicBezTo>
                    <a:pt x="474264" y="757916"/>
                    <a:pt x="474264" y="757916"/>
                    <a:pt x="474264" y="727731"/>
                  </a:cubicBezTo>
                  <a:cubicBezTo>
                    <a:pt x="474264" y="725215"/>
                    <a:pt x="471728" y="723538"/>
                    <a:pt x="469193" y="723538"/>
                  </a:cubicBezTo>
                  <a:cubicBezTo>
                    <a:pt x="469193" y="723538"/>
                    <a:pt x="469193" y="723538"/>
                    <a:pt x="432849" y="723538"/>
                  </a:cubicBezTo>
                  <a:cubicBezTo>
                    <a:pt x="432849" y="723538"/>
                    <a:pt x="432849" y="723538"/>
                    <a:pt x="351710" y="723538"/>
                  </a:cubicBezTo>
                  <a:close/>
                  <a:moveTo>
                    <a:pt x="352551" y="654255"/>
                  </a:moveTo>
                  <a:cubicBezTo>
                    <a:pt x="350017" y="654255"/>
                    <a:pt x="347484" y="656789"/>
                    <a:pt x="347484" y="659324"/>
                  </a:cubicBezTo>
                  <a:cubicBezTo>
                    <a:pt x="347484" y="659324"/>
                    <a:pt x="347484" y="659324"/>
                    <a:pt x="347484" y="693114"/>
                  </a:cubicBezTo>
                  <a:cubicBezTo>
                    <a:pt x="347484" y="695648"/>
                    <a:pt x="350017" y="698182"/>
                    <a:pt x="352551" y="698182"/>
                  </a:cubicBezTo>
                  <a:cubicBezTo>
                    <a:pt x="352551" y="698182"/>
                    <a:pt x="352551" y="698182"/>
                    <a:pt x="521451" y="698182"/>
                  </a:cubicBezTo>
                  <a:cubicBezTo>
                    <a:pt x="521451" y="698182"/>
                    <a:pt x="521451" y="698182"/>
                    <a:pt x="557764" y="698182"/>
                  </a:cubicBezTo>
                  <a:cubicBezTo>
                    <a:pt x="560297" y="698182"/>
                    <a:pt x="562831" y="695648"/>
                    <a:pt x="562831" y="693114"/>
                  </a:cubicBezTo>
                  <a:cubicBezTo>
                    <a:pt x="562831" y="693114"/>
                    <a:pt x="562831" y="693114"/>
                    <a:pt x="562831" y="659324"/>
                  </a:cubicBezTo>
                  <a:cubicBezTo>
                    <a:pt x="562831" y="656789"/>
                    <a:pt x="560297" y="654255"/>
                    <a:pt x="557764" y="654255"/>
                  </a:cubicBezTo>
                  <a:cubicBezTo>
                    <a:pt x="557764" y="654255"/>
                    <a:pt x="557764" y="654255"/>
                    <a:pt x="352551" y="654255"/>
                  </a:cubicBezTo>
                  <a:close/>
                  <a:moveTo>
                    <a:pt x="452249" y="486763"/>
                  </a:moveTo>
                  <a:cubicBezTo>
                    <a:pt x="432046" y="486763"/>
                    <a:pt x="416052" y="502757"/>
                    <a:pt x="416052" y="522119"/>
                  </a:cubicBezTo>
                  <a:cubicBezTo>
                    <a:pt x="416052" y="542322"/>
                    <a:pt x="432046" y="557474"/>
                    <a:pt x="452249" y="557474"/>
                  </a:cubicBezTo>
                  <a:cubicBezTo>
                    <a:pt x="452249" y="557474"/>
                    <a:pt x="452249" y="557474"/>
                    <a:pt x="522119" y="557474"/>
                  </a:cubicBezTo>
                  <a:cubicBezTo>
                    <a:pt x="541480" y="557474"/>
                    <a:pt x="557474" y="542322"/>
                    <a:pt x="557474" y="522119"/>
                  </a:cubicBezTo>
                  <a:cubicBezTo>
                    <a:pt x="557474" y="502757"/>
                    <a:pt x="541480" y="486763"/>
                    <a:pt x="522119" y="486763"/>
                  </a:cubicBezTo>
                  <a:cubicBezTo>
                    <a:pt x="522119" y="486763"/>
                    <a:pt x="522119" y="486763"/>
                    <a:pt x="485921" y="486763"/>
                  </a:cubicBezTo>
                  <a:cubicBezTo>
                    <a:pt x="485921" y="486763"/>
                    <a:pt x="485921" y="486763"/>
                    <a:pt x="452249" y="486763"/>
                  </a:cubicBezTo>
                  <a:close/>
                  <a:moveTo>
                    <a:pt x="684968" y="417481"/>
                  </a:moveTo>
                  <a:cubicBezTo>
                    <a:pt x="684968" y="417481"/>
                    <a:pt x="684968" y="417481"/>
                    <a:pt x="806440" y="417481"/>
                  </a:cubicBezTo>
                  <a:cubicBezTo>
                    <a:pt x="820781" y="417481"/>
                    <a:pt x="831747" y="428437"/>
                    <a:pt x="831747" y="442763"/>
                  </a:cubicBezTo>
                  <a:cubicBezTo>
                    <a:pt x="831747" y="442763"/>
                    <a:pt x="831747" y="442763"/>
                    <a:pt x="831747" y="806822"/>
                  </a:cubicBezTo>
                  <a:cubicBezTo>
                    <a:pt x="831747" y="821149"/>
                    <a:pt x="820781" y="832104"/>
                    <a:pt x="806440" y="832104"/>
                  </a:cubicBezTo>
                  <a:cubicBezTo>
                    <a:pt x="806440" y="832104"/>
                    <a:pt x="806440" y="832104"/>
                    <a:pt x="684968" y="832104"/>
                  </a:cubicBezTo>
                  <a:cubicBezTo>
                    <a:pt x="684968" y="832104"/>
                    <a:pt x="684968" y="832104"/>
                    <a:pt x="684968" y="591926"/>
                  </a:cubicBezTo>
                  <a:cubicBezTo>
                    <a:pt x="684968" y="591926"/>
                    <a:pt x="684968" y="591926"/>
                    <a:pt x="684968" y="417481"/>
                  </a:cubicBezTo>
                  <a:close/>
                  <a:moveTo>
                    <a:pt x="279987" y="417481"/>
                  </a:moveTo>
                  <a:cubicBezTo>
                    <a:pt x="279987" y="417481"/>
                    <a:pt x="279987" y="417481"/>
                    <a:pt x="671397" y="417481"/>
                  </a:cubicBezTo>
                  <a:lnTo>
                    <a:pt x="671397" y="832104"/>
                  </a:lnTo>
                  <a:cubicBezTo>
                    <a:pt x="671397" y="832104"/>
                    <a:pt x="671397" y="832104"/>
                    <a:pt x="304450" y="832104"/>
                  </a:cubicBezTo>
                  <a:cubicBezTo>
                    <a:pt x="290953" y="832104"/>
                    <a:pt x="279987" y="821149"/>
                    <a:pt x="279987" y="806822"/>
                  </a:cubicBezTo>
                  <a:cubicBezTo>
                    <a:pt x="279987" y="806822"/>
                    <a:pt x="279987" y="806822"/>
                    <a:pt x="279987" y="417481"/>
                  </a:cubicBezTo>
                  <a:close/>
                  <a:moveTo>
                    <a:pt x="24483" y="417481"/>
                  </a:moveTo>
                  <a:cubicBezTo>
                    <a:pt x="24483" y="417481"/>
                    <a:pt x="24483" y="417481"/>
                    <a:pt x="266773" y="417481"/>
                  </a:cubicBezTo>
                  <a:cubicBezTo>
                    <a:pt x="266773" y="417481"/>
                    <a:pt x="266773" y="417481"/>
                    <a:pt x="266773" y="466149"/>
                  </a:cubicBezTo>
                  <a:lnTo>
                    <a:pt x="266773" y="496865"/>
                  </a:lnTo>
                  <a:cubicBezTo>
                    <a:pt x="260027" y="490130"/>
                    <a:pt x="251594" y="486763"/>
                    <a:pt x="242318" y="486763"/>
                  </a:cubicBezTo>
                  <a:cubicBezTo>
                    <a:pt x="206057" y="486763"/>
                    <a:pt x="206057" y="486763"/>
                    <a:pt x="206057" y="486763"/>
                  </a:cubicBezTo>
                  <a:cubicBezTo>
                    <a:pt x="172326" y="486763"/>
                    <a:pt x="172326" y="486763"/>
                    <a:pt x="172326" y="486763"/>
                  </a:cubicBezTo>
                  <a:cubicBezTo>
                    <a:pt x="152088" y="486763"/>
                    <a:pt x="136065" y="502757"/>
                    <a:pt x="136065" y="522119"/>
                  </a:cubicBezTo>
                  <a:cubicBezTo>
                    <a:pt x="136065" y="542322"/>
                    <a:pt x="152088" y="557474"/>
                    <a:pt x="172326" y="557474"/>
                  </a:cubicBezTo>
                  <a:cubicBezTo>
                    <a:pt x="242318" y="557474"/>
                    <a:pt x="242318" y="557474"/>
                    <a:pt x="242318" y="557474"/>
                  </a:cubicBezTo>
                  <a:cubicBezTo>
                    <a:pt x="251594" y="557474"/>
                    <a:pt x="260027" y="554107"/>
                    <a:pt x="266773" y="548214"/>
                  </a:cubicBezTo>
                  <a:lnTo>
                    <a:pt x="266773" y="581734"/>
                  </a:lnTo>
                  <a:cubicBezTo>
                    <a:pt x="266773" y="636485"/>
                    <a:pt x="266773" y="709487"/>
                    <a:pt x="266773" y="806822"/>
                  </a:cubicBezTo>
                  <a:cubicBezTo>
                    <a:pt x="266773" y="816935"/>
                    <a:pt x="270149" y="825362"/>
                    <a:pt x="276059" y="832104"/>
                  </a:cubicBezTo>
                  <a:cubicBezTo>
                    <a:pt x="276059" y="832104"/>
                    <a:pt x="276059" y="832104"/>
                    <a:pt x="24483" y="832104"/>
                  </a:cubicBezTo>
                  <a:cubicBezTo>
                    <a:pt x="10975" y="832104"/>
                    <a:pt x="0" y="821149"/>
                    <a:pt x="0" y="806822"/>
                  </a:cubicBezTo>
                  <a:cubicBezTo>
                    <a:pt x="0" y="806822"/>
                    <a:pt x="0" y="806822"/>
                    <a:pt x="0" y="442763"/>
                  </a:cubicBezTo>
                  <a:cubicBezTo>
                    <a:pt x="0" y="428437"/>
                    <a:pt x="10975" y="417481"/>
                    <a:pt x="24483" y="417481"/>
                  </a:cubicBezTo>
                  <a:close/>
                  <a:moveTo>
                    <a:pt x="312996" y="69640"/>
                  </a:moveTo>
                  <a:cubicBezTo>
                    <a:pt x="292779" y="69640"/>
                    <a:pt x="276773" y="85657"/>
                    <a:pt x="276773" y="105889"/>
                  </a:cubicBezTo>
                  <a:cubicBezTo>
                    <a:pt x="276773" y="126120"/>
                    <a:pt x="292779" y="142137"/>
                    <a:pt x="312996" y="142137"/>
                  </a:cubicBezTo>
                  <a:cubicBezTo>
                    <a:pt x="312996" y="142137"/>
                    <a:pt x="312996" y="142137"/>
                    <a:pt x="383758" y="142137"/>
                  </a:cubicBezTo>
                  <a:cubicBezTo>
                    <a:pt x="403975" y="142137"/>
                    <a:pt x="419981" y="126120"/>
                    <a:pt x="419981" y="105889"/>
                  </a:cubicBezTo>
                  <a:cubicBezTo>
                    <a:pt x="419981" y="85657"/>
                    <a:pt x="403975" y="69640"/>
                    <a:pt x="383758" y="69640"/>
                  </a:cubicBezTo>
                  <a:cubicBezTo>
                    <a:pt x="383758" y="69640"/>
                    <a:pt x="383758" y="69640"/>
                    <a:pt x="347535" y="69640"/>
                  </a:cubicBezTo>
                  <a:cubicBezTo>
                    <a:pt x="347535" y="69640"/>
                    <a:pt x="347535" y="69640"/>
                    <a:pt x="312996" y="69640"/>
                  </a:cubicBezTo>
                  <a:close/>
                  <a:moveTo>
                    <a:pt x="549260" y="0"/>
                  </a:moveTo>
                  <a:cubicBezTo>
                    <a:pt x="549260" y="0"/>
                    <a:pt x="549260" y="0"/>
                    <a:pt x="673237" y="0"/>
                  </a:cubicBezTo>
                  <a:cubicBezTo>
                    <a:pt x="687575" y="0"/>
                    <a:pt x="698539" y="10945"/>
                    <a:pt x="698539" y="25259"/>
                  </a:cubicBezTo>
                  <a:cubicBezTo>
                    <a:pt x="698539" y="25259"/>
                    <a:pt x="698539" y="25259"/>
                    <a:pt x="698539" y="404981"/>
                  </a:cubicBezTo>
                  <a:lnTo>
                    <a:pt x="549260" y="404981"/>
                  </a:lnTo>
                  <a:cubicBezTo>
                    <a:pt x="549260" y="404981"/>
                    <a:pt x="549260" y="404981"/>
                    <a:pt x="549260" y="0"/>
                  </a:cubicBezTo>
                  <a:close/>
                  <a:moveTo>
                    <a:pt x="163860" y="0"/>
                  </a:moveTo>
                  <a:cubicBezTo>
                    <a:pt x="163860" y="0"/>
                    <a:pt x="163860" y="0"/>
                    <a:pt x="535689" y="0"/>
                  </a:cubicBezTo>
                  <a:cubicBezTo>
                    <a:pt x="535689" y="0"/>
                    <a:pt x="535689" y="0"/>
                    <a:pt x="535689" y="404981"/>
                  </a:cubicBezTo>
                  <a:lnTo>
                    <a:pt x="138565" y="404981"/>
                  </a:lnTo>
                  <a:cubicBezTo>
                    <a:pt x="138565" y="404981"/>
                    <a:pt x="138565" y="404981"/>
                    <a:pt x="138565" y="25259"/>
                  </a:cubicBezTo>
                  <a:cubicBezTo>
                    <a:pt x="138565" y="10946"/>
                    <a:pt x="149526" y="0"/>
                    <a:pt x="163860" y="0"/>
                  </a:cubicBezTo>
                  <a:close/>
                </a:path>
              </a:pathLst>
            </a:custGeom>
            <a:solidFill>
              <a:srgbClr val="0F78D4"/>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024" name="Group 1023">
            <a:extLst>
              <a:ext uri="{FF2B5EF4-FFF2-40B4-BE49-F238E27FC236}">
                <a16:creationId xmlns:a16="http://schemas.microsoft.com/office/drawing/2014/main" id="{B01A03CA-240B-4D07-929E-7640BE6D2E5E}"/>
              </a:ext>
            </a:extLst>
          </p:cNvPr>
          <p:cNvGrpSpPr/>
          <p:nvPr/>
        </p:nvGrpSpPr>
        <p:grpSpPr>
          <a:xfrm>
            <a:off x="8440661" y="2741345"/>
            <a:ext cx="573298" cy="897384"/>
            <a:chOff x="8462937" y="2941637"/>
            <a:chExt cx="573298" cy="897384"/>
          </a:xfrm>
        </p:grpSpPr>
        <p:sp>
          <p:nvSpPr>
            <p:cNvPr id="76" name="Rectangle 75">
              <a:extLst>
                <a:ext uri="{FF2B5EF4-FFF2-40B4-BE49-F238E27FC236}">
                  <a16:creationId xmlns:a16="http://schemas.microsoft.com/office/drawing/2014/main" id="{F33B0353-3342-46D7-AF39-DCEBEE484E2E}"/>
                </a:ext>
              </a:extLst>
            </p:cNvPr>
            <p:cNvSpPr/>
            <p:nvPr/>
          </p:nvSpPr>
          <p:spPr>
            <a:xfrm>
              <a:off x="8462937" y="3562022"/>
              <a:ext cx="573298" cy="276999"/>
            </a:xfrm>
            <a:prstGeom prst="rect">
              <a:avLst/>
            </a:prstGeom>
          </p:spPr>
          <p:txBody>
            <a:bodyPr wrap="none">
              <a:spAutoFit/>
            </a:bodyPr>
            <a:lstStyle/>
            <a:p>
              <a:pPr algn="ctr" defTabSz="895497">
                <a:defRPr/>
              </a:pPr>
              <a:r>
                <a:rPr lang="en-US" sz="1200">
                  <a:solidFill>
                    <a:srgbClr val="000000"/>
                  </a:solidFill>
                  <a:latin typeface="Segoe UI" panose="020B0502040204020203" pitchFamily="34" charset="0"/>
                  <a:cs typeface="Segoe UI" panose="020B0502040204020203" pitchFamily="34" charset="0"/>
                </a:rPr>
                <a:t>Policy</a:t>
              </a:r>
            </a:p>
          </p:txBody>
        </p:sp>
        <p:grpSp>
          <p:nvGrpSpPr>
            <p:cNvPr id="136" name="Group 54">
              <a:extLst>
                <a:ext uri="{FF2B5EF4-FFF2-40B4-BE49-F238E27FC236}">
                  <a16:creationId xmlns:a16="http://schemas.microsoft.com/office/drawing/2014/main" id="{7B7FAE60-5F27-4804-9FD2-EF6261236E4E}"/>
                </a:ext>
              </a:extLst>
            </p:cNvPr>
            <p:cNvGrpSpPr>
              <a:grpSpLocks noChangeAspect="1"/>
            </p:cNvGrpSpPr>
            <p:nvPr/>
          </p:nvGrpSpPr>
          <p:grpSpPr bwMode="auto">
            <a:xfrm>
              <a:off x="8498126" y="2941637"/>
              <a:ext cx="502920" cy="559258"/>
              <a:chOff x="4488" y="1107"/>
              <a:chExt cx="2687" cy="2988"/>
            </a:xfrm>
            <a:solidFill>
              <a:srgbClr val="000000"/>
            </a:solidFill>
          </p:grpSpPr>
          <p:sp>
            <p:nvSpPr>
              <p:cNvPr id="137" name="Freeform 55">
                <a:extLst>
                  <a:ext uri="{FF2B5EF4-FFF2-40B4-BE49-F238E27FC236}">
                    <a16:creationId xmlns:a16="http://schemas.microsoft.com/office/drawing/2014/main" id="{25741867-7964-41C0-8EA2-BD47CBB89EAB}"/>
                  </a:ext>
                </a:extLst>
              </p:cNvPr>
              <p:cNvSpPr>
                <a:spLocks/>
              </p:cNvSpPr>
              <p:nvPr/>
            </p:nvSpPr>
            <p:spPr bwMode="auto">
              <a:xfrm>
                <a:off x="4488" y="1107"/>
                <a:ext cx="2037" cy="2988"/>
              </a:xfrm>
              <a:custGeom>
                <a:avLst/>
                <a:gdLst>
                  <a:gd name="T0" fmla="*/ 554 w 863"/>
                  <a:gd name="T1" fmla="*/ 1267 h 1267"/>
                  <a:gd name="T2" fmla="*/ 532 w 863"/>
                  <a:gd name="T3" fmla="*/ 1261 h 1267"/>
                  <a:gd name="T4" fmla="*/ 22 w 863"/>
                  <a:gd name="T5" fmla="*/ 967 h 1267"/>
                  <a:gd name="T6" fmla="*/ 0 w 863"/>
                  <a:gd name="T7" fmla="*/ 929 h 1267"/>
                  <a:gd name="T8" fmla="*/ 0 w 863"/>
                  <a:gd name="T9" fmla="*/ 340 h 1267"/>
                  <a:gd name="T10" fmla="*/ 22 w 863"/>
                  <a:gd name="T11" fmla="*/ 302 h 1267"/>
                  <a:gd name="T12" fmla="*/ 532 w 863"/>
                  <a:gd name="T13" fmla="*/ 8 h 1267"/>
                  <a:gd name="T14" fmla="*/ 576 w 863"/>
                  <a:gd name="T15" fmla="*/ 8 h 1267"/>
                  <a:gd name="T16" fmla="*/ 832 w 863"/>
                  <a:gd name="T17" fmla="*/ 160 h 1267"/>
                  <a:gd name="T18" fmla="*/ 847 w 863"/>
                  <a:gd name="T19" fmla="*/ 221 h 1267"/>
                  <a:gd name="T20" fmla="*/ 786 w 863"/>
                  <a:gd name="T21" fmla="*/ 236 h 1267"/>
                  <a:gd name="T22" fmla="*/ 553 w 863"/>
                  <a:gd name="T23" fmla="*/ 97 h 1267"/>
                  <a:gd name="T24" fmla="*/ 88 w 863"/>
                  <a:gd name="T25" fmla="*/ 366 h 1267"/>
                  <a:gd name="T26" fmla="*/ 88 w 863"/>
                  <a:gd name="T27" fmla="*/ 903 h 1267"/>
                  <a:gd name="T28" fmla="*/ 553 w 863"/>
                  <a:gd name="T29" fmla="*/ 1172 h 1267"/>
                  <a:gd name="T30" fmla="*/ 791 w 863"/>
                  <a:gd name="T31" fmla="*/ 1032 h 1267"/>
                  <a:gd name="T32" fmla="*/ 851 w 863"/>
                  <a:gd name="T33" fmla="*/ 1048 h 1267"/>
                  <a:gd name="T34" fmla="*/ 835 w 863"/>
                  <a:gd name="T35" fmla="*/ 1108 h 1267"/>
                  <a:gd name="T36" fmla="*/ 576 w 863"/>
                  <a:gd name="T37" fmla="*/ 1261 h 1267"/>
                  <a:gd name="T38" fmla="*/ 554 w 863"/>
                  <a:gd name="T39" fmla="*/ 1267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3" h="1267">
                    <a:moveTo>
                      <a:pt x="554" y="1267"/>
                    </a:moveTo>
                    <a:cubicBezTo>
                      <a:pt x="546" y="1267"/>
                      <a:pt x="538" y="1265"/>
                      <a:pt x="532" y="1261"/>
                    </a:cubicBezTo>
                    <a:cubicBezTo>
                      <a:pt x="22" y="967"/>
                      <a:pt x="22" y="967"/>
                      <a:pt x="22" y="967"/>
                    </a:cubicBezTo>
                    <a:cubicBezTo>
                      <a:pt x="8" y="959"/>
                      <a:pt x="0" y="945"/>
                      <a:pt x="0" y="929"/>
                    </a:cubicBezTo>
                    <a:cubicBezTo>
                      <a:pt x="0" y="340"/>
                      <a:pt x="0" y="340"/>
                      <a:pt x="0" y="340"/>
                    </a:cubicBezTo>
                    <a:cubicBezTo>
                      <a:pt x="0" y="325"/>
                      <a:pt x="8" y="310"/>
                      <a:pt x="22" y="302"/>
                    </a:cubicBezTo>
                    <a:cubicBezTo>
                      <a:pt x="532" y="8"/>
                      <a:pt x="532" y="8"/>
                      <a:pt x="532" y="8"/>
                    </a:cubicBezTo>
                    <a:cubicBezTo>
                      <a:pt x="545" y="0"/>
                      <a:pt x="562" y="0"/>
                      <a:pt x="576" y="8"/>
                    </a:cubicBezTo>
                    <a:cubicBezTo>
                      <a:pt x="832" y="160"/>
                      <a:pt x="832" y="160"/>
                      <a:pt x="832" y="160"/>
                    </a:cubicBezTo>
                    <a:cubicBezTo>
                      <a:pt x="852" y="173"/>
                      <a:pt x="859" y="200"/>
                      <a:pt x="847" y="221"/>
                    </a:cubicBezTo>
                    <a:cubicBezTo>
                      <a:pt x="834" y="241"/>
                      <a:pt x="807" y="248"/>
                      <a:pt x="786" y="236"/>
                    </a:cubicBezTo>
                    <a:cubicBezTo>
                      <a:pt x="553" y="97"/>
                      <a:pt x="553" y="97"/>
                      <a:pt x="553" y="97"/>
                    </a:cubicBezTo>
                    <a:cubicBezTo>
                      <a:pt x="88" y="366"/>
                      <a:pt x="88" y="366"/>
                      <a:pt x="88" y="366"/>
                    </a:cubicBezTo>
                    <a:cubicBezTo>
                      <a:pt x="88" y="903"/>
                      <a:pt x="88" y="903"/>
                      <a:pt x="88" y="903"/>
                    </a:cubicBezTo>
                    <a:cubicBezTo>
                      <a:pt x="553" y="1172"/>
                      <a:pt x="553" y="1172"/>
                      <a:pt x="553" y="1172"/>
                    </a:cubicBezTo>
                    <a:cubicBezTo>
                      <a:pt x="791" y="1032"/>
                      <a:pt x="791" y="1032"/>
                      <a:pt x="791" y="1032"/>
                    </a:cubicBezTo>
                    <a:cubicBezTo>
                      <a:pt x="812" y="1020"/>
                      <a:pt x="839" y="1027"/>
                      <a:pt x="851" y="1048"/>
                    </a:cubicBezTo>
                    <a:cubicBezTo>
                      <a:pt x="863" y="1069"/>
                      <a:pt x="856" y="1096"/>
                      <a:pt x="835" y="1108"/>
                    </a:cubicBezTo>
                    <a:cubicBezTo>
                      <a:pt x="576" y="1261"/>
                      <a:pt x="576" y="1261"/>
                      <a:pt x="576" y="1261"/>
                    </a:cubicBezTo>
                    <a:cubicBezTo>
                      <a:pt x="569" y="1265"/>
                      <a:pt x="561" y="1267"/>
                      <a:pt x="554" y="12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56">
                <a:extLst>
                  <a:ext uri="{FF2B5EF4-FFF2-40B4-BE49-F238E27FC236}">
                    <a16:creationId xmlns:a16="http://schemas.microsoft.com/office/drawing/2014/main" id="{A5A73216-DAEB-4BFA-89CF-96926B68631F}"/>
                  </a:ext>
                </a:extLst>
              </p:cNvPr>
              <p:cNvSpPr>
                <a:spLocks/>
              </p:cNvSpPr>
              <p:nvPr/>
            </p:nvSpPr>
            <p:spPr bwMode="auto">
              <a:xfrm>
                <a:off x="4488" y="1107"/>
                <a:ext cx="2037" cy="2988"/>
              </a:xfrm>
              <a:custGeom>
                <a:avLst/>
                <a:gdLst>
                  <a:gd name="T0" fmla="*/ 554 w 863"/>
                  <a:gd name="T1" fmla="*/ 1267 h 1267"/>
                  <a:gd name="T2" fmla="*/ 532 w 863"/>
                  <a:gd name="T3" fmla="*/ 1261 h 1267"/>
                  <a:gd name="T4" fmla="*/ 22 w 863"/>
                  <a:gd name="T5" fmla="*/ 967 h 1267"/>
                  <a:gd name="T6" fmla="*/ 0 w 863"/>
                  <a:gd name="T7" fmla="*/ 929 h 1267"/>
                  <a:gd name="T8" fmla="*/ 0 w 863"/>
                  <a:gd name="T9" fmla="*/ 340 h 1267"/>
                  <a:gd name="T10" fmla="*/ 22 w 863"/>
                  <a:gd name="T11" fmla="*/ 302 h 1267"/>
                  <a:gd name="T12" fmla="*/ 532 w 863"/>
                  <a:gd name="T13" fmla="*/ 8 h 1267"/>
                  <a:gd name="T14" fmla="*/ 576 w 863"/>
                  <a:gd name="T15" fmla="*/ 8 h 1267"/>
                  <a:gd name="T16" fmla="*/ 832 w 863"/>
                  <a:gd name="T17" fmla="*/ 160 h 1267"/>
                  <a:gd name="T18" fmla="*/ 847 w 863"/>
                  <a:gd name="T19" fmla="*/ 221 h 1267"/>
                  <a:gd name="T20" fmla="*/ 786 w 863"/>
                  <a:gd name="T21" fmla="*/ 236 h 1267"/>
                  <a:gd name="T22" fmla="*/ 553 w 863"/>
                  <a:gd name="T23" fmla="*/ 97 h 1267"/>
                  <a:gd name="T24" fmla="*/ 88 w 863"/>
                  <a:gd name="T25" fmla="*/ 366 h 1267"/>
                  <a:gd name="T26" fmla="*/ 88 w 863"/>
                  <a:gd name="T27" fmla="*/ 903 h 1267"/>
                  <a:gd name="T28" fmla="*/ 553 w 863"/>
                  <a:gd name="T29" fmla="*/ 1172 h 1267"/>
                  <a:gd name="T30" fmla="*/ 791 w 863"/>
                  <a:gd name="T31" fmla="*/ 1032 h 1267"/>
                  <a:gd name="T32" fmla="*/ 851 w 863"/>
                  <a:gd name="T33" fmla="*/ 1048 h 1267"/>
                  <a:gd name="T34" fmla="*/ 835 w 863"/>
                  <a:gd name="T35" fmla="*/ 1108 h 1267"/>
                  <a:gd name="T36" fmla="*/ 576 w 863"/>
                  <a:gd name="T37" fmla="*/ 1261 h 1267"/>
                  <a:gd name="T38" fmla="*/ 554 w 863"/>
                  <a:gd name="T39" fmla="*/ 1267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3" h="1267">
                    <a:moveTo>
                      <a:pt x="554" y="1267"/>
                    </a:moveTo>
                    <a:cubicBezTo>
                      <a:pt x="546" y="1267"/>
                      <a:pt x="538" y="1265"/>
                      <a:pt x="532" y="1261"/>
                    </a:cubicBezTo>
                    <a:cubicBezTo>
                      <a:pt x="22" y="967"/>
                      <a:pt x="22" y="967"/>
                      <a:pt x="22" y="967"/>
                    </a:cubicBezTo>
                    <a:cubicBezTo>
                      <a:pt x="8" y="959"/>
                      <a:pt x="0" y="945"/>
                      <a:pt x="0" y="929"/>
                    </a:cubicBezTo>
                    <a:cubicBezTo>
                      <a:pt x="0" y="340"/>
                      <a:pt x="0" y="340"/>
                      <a:pt x="0" y="340"/>
                    </a:cubicBezTo>
                    <a:cubicBezTo>
                      <a:pt x="0" y="325"/>
                      <a:pt x="8" y="310"/>
                      <a:pt x="22" y="302"/>
                    </a:cubicBezTo>
                    <a:cubicBezTo>
                      <a:pt x="532" y="8"/>
                      <a:pt x="532" y="8"/>
                      <a:pt x="532" y="8"/>
                    </a:cubicBezTo>
                    <a:cubicBezTo>
                      <a:pt x="545" y="0"/>
                      <a:pt x="562" y="0"/>
                      <a:pt x="576" y="8"/>
                    </a:cubicBezTo>
                    <a:cubicBezTo>
                      <a:pt x="832" y="160"/>
                      <a:pt x="832" y="160"/>
                      <a:pt x="832" y="160"/>
                    </a:cubicBezTo>
                    <a:cubicBezTo>
                      <a:pt x="852" y="173"/>
                      <a:pt x="859" y="200"/>
                      <a:pt x="847" y="221"/>
                    </a:cubicBezTo>
                    <a:cubicBezTo>
                      <a:pt x="834" y="241"/>
                      <a:pt x="807" y="248"/>
                      <a:pt x="786" y="236"/>
                    </a:cubicBezTo>
                    <a:cubicBezTo>
                      <a:pt x="553" y="97"/>
                      <a:pt x="553" y="97"/>
                      <a:pt x="553" y="97"/>
                    </a:cubicBezTo>
                    <a:cubicBezTo>
                      <a:pt x="88" y="366"/>
                      <a:pt x="88" y="366"/>
                      <a:pt x="88" y="366"/>
                    </a:cubicBezTo>
                    <a:cubicBezTo>
                      <a:pt x="88" y="903"/>
                      <a:pt x="88" y="903"/>
                      <a:pt x="88" y="903"/>
                    </a:cubicBezTo>
                    <a:cubicBezTo>
                      <a:pt x="553" y="1172"/>
                      <a:pt x="553" y="1172"/>
                      <a:pt x="553" y="1172"/>
                    </a:cubicBezTo>
                    <a:cubicBezTo>
                      <a:pt x="791" y="1032"/>
                      <a:pt x="791" y="1032"/>
                      <a:pt x="791" y="1032"/>
                    </a:cubicBezTo>
                    <a:cubicBezTo>
                      <a:pt x="812" y="1020"/>
                      <a:pt x="839" y="1027"/>
                      <a:pt x="851" y="1048"/>
                    </a:cubicBezTo>
                    <a:cubicBezTo>
                      <a:pt x="863" y="1069"/>
                      <a:pt x="856" y="1096"/>
                      <a:pt x="835" y="1108"/>
                    </a:cubicBezTo>
                    <a:cubicBezTo>
                      <a:pt x="576" y="1261"/>
                      <a:pt x="576" y="1261"/>
                      <a:pt x="576" y="1261"/>
                    </a:cubicBezTo>
                    <a:cubicBezTo>
                      <a:pt x="569" y="1265"/>
                      <a:pt x="561" y="1267"/>
                      <a:pt x="554" y="1267"/>
                    </a:cubicBezTo>
                    <a:close/>
                  </a:path>
                </a:pathLst>
              </a:custGeom>
              <a:solidFill>
                <a:srgbClr val="0F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57">
                <a:extLst>
                  <a:ext uri="{FF2B5EF4-FFF2-40B4-BE49-F238E27FC236}">
                    <a16:creationId xmlns:a16="http://schemas.microsoft.com/office/drawing/2014/main" id="{E796C04E-4A4A-479C-8A5B-7BFC69A6B77B}"/>
                  </a:ext>
                </a:extLst>
              </p:cNvPr>
              <p:cNvSpPr>
                <a:spLocks noChangeArrowheads="1"/>
              </p:cNvSpPr>
              <p:nvPr/>
            </p:nvSpPr>
            <p:spPr bwMode="auto">
              <a:xfrm>
                <a:off x="5402" y="2178"/>
                <a:ext cx="807" cy="806"/>
              </a:xfrm>
              <a:prstGeom prst="ellipse">
                <a:avLst/>
              </a:prstGeom>
              <a:solidFill>
                <a:srgbClr val="0F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58">
                <a:extLst>
                  <a:ext uri="{FF2B5EF4-FFF2-40B4-BE49-F238E27FC236}">
                    <a16:creationId xmlns:a16="http://schemas.microsoft.com/office/drawing/2014/main" id="{CA058C6F-4979-4D84-82D7-5DF04B12E58F}"/>
                  </a:ext>
                </a:extLst>
              </p:cNvPr>
              <p:cNvSpPr>
                <a:spLocks noChangeArrowheads="1"/>
              </p:cNvSpPr>
              <p:nvPr/>
            </p:nvSpPr>
            <p:spPr bwMode="auto">
              <a:xfrm>
                <a:off x="6299" y="2001"/>
                <a:ext cx="396" cy="396"/>
              </a:xfrm>
              <a:prstGeom prst="ellipse">
                <a:avLst/>
              </a:prstGeom>
              <a:solidFill>
                <a:srgbClr val="0F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59">
                <a:extLst>
                  <a:ext uri="{FF2B5EF4-FFF2-40B4-BE49-F238E27FC236}">
                    <a16:creationId xmlns:a16="http://schemas.microsoft.com/office/drawing/2014/main" id="{EC344F09-3B9E-4F59-A523-33846E8A3605}"/>
                  </a:ext>
                </a:extLst>
              </p:cNvPr>
              <p:cNvSpPr>
                <a:spLocks noChangeArrowheads="1"/>
              </p:cNvSpPr>
              <p:nvPr/>
            </p:nvSpPr>
            <p:spPr bwMode="auto">
              <a:xfrm>
                <a:off x="6294" y="2781"/>
                <a:ext cx="397" cy="396"/>
              </a:xfrm>
              <a:prstGeom prst="ellipse">
                <a:avLst/>
              </a:prstGeom>
              <a:solidFill>
                <a:srgbClr val="0F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60">
                <a:extLst>
                  <a:ext uri="{FF2B5EF4-FFF2-40B4-BE49-F238E27FC236}">
                    <a16:creationId xmlns:a16="http://schemas.microsoft.com/office/drawing/2014/main" id="{18D7B652-20B5-477A-BC15-5A29C0B77FF5}"/>
                  </a:ext>
                </a:extLst>
              </p:cNvPr>
              <p:cNvSpPr>
                <a:spLocks noChangeArrowheads="1"/>
              </p:cNvSpPr>
              <p:nvPr/>
            </p:nvSpPr>
            <p:spPr bwMode="auto">
              <a:xfrm>
                <a:off x="6828" y="1756"/>
                <a:ext cx="344" cy="344"/>
              </a:xfrm>
              <a:prstGeom prst="ellipse">
                <a:avLst/>
              </a:prstGeom>
              <a:solidFill>
                <a:srgbClr val="0F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61">
                <a:extLst>
                  <a:ext uri="{FF2B5EF4-FFF2-40B4-BE49-F238E27FC236}">
                    <a16:creationId xmlns:a16="http://schemas.microsoft.com/office/drawing/2014/main" id="{F82745BB-AAD4-4CEF-A0A5-3443AE45466D}"/>
                  </a:ext>
                </a:extLst>
              </p:cNvPr>
              <p:cNvSpPr>
                <a:spLocks noChangeArrowheads="1"/>
              </p:cNvSpPr>
              <p:nvPr/>
            </p:nvSpPr>
            <p:spPr bwMode="auto">
              <a:xfrm>
                <a:off x="6830" y="2413"/>
                <a:ext cx="345" cy="345"/>
              </a:xfrm>
              <a:prstGeom prst="ellipse">
                <a:avLst/>
              </a:prstGeom>
              <a:solidFill>
                <a:srgbClr val="0F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62">
                <a:extLst>
                  <a:ext uri="{FF2B5EF4-FFF2-40B4-BE49-F238E27FC236}">
                    <a16:creationId xmlns:a16="http://schemas.microsoft.com/office/drawing/2014/main" id="{99F68FB6-8034-4BFF-85DE-C804F86B29E7}"/>
                  </a:ext>
                </a:extLst>
              </p:cNvPr>
              <p:cNvSpPr>
                <a:spLocks noChangeArrowheads="1"/>
              </p:cNvSpPr>
              <p:nvPr/>
            </p:nvSpPr>
            <p:spPr bwMode="auto">
              <a:xfrm>
                <a:off x="6830" y="3074"/>
                <a:ext cx="345" cy="344"/>
              </a:xfrm>
              <a:prstGeom prst="ellipse">
                <a:avLst/>
              </a:prstGeom>
              <a:solidFill>
                <a:srgbClr val="0F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022012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250"/>
                                        <p:tgtEl>
                                          <p:spTgt spid="28"/>
                                        </p:tgtEl>
                                      </p:cBhvr>
                                    </p:animEffect>
                                  </p:childTnLst>
                                </p:cTn>
                              </p:par>
                            </p:childTnLst>
                          </p:cTn>
                        </p:par>
                        <p:par>
                          <p:cTn id="8" fill="hold">
                            <p:stCondLst>
                              <p:cond delay="250"/>
                            </p:stCondLst>
                            <p:childTnLst>
                              <p:par>
                                <p:cTn id="9" presetID="22" presetClass="entr" presetSubtype="8" fill="hold"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wipe(left)">
                                      <p:cBhvr>
                                        <p:cTn id="11" dur="250"/>
                                        <p:tgtEl>
                                          <p:spTgt spid="29"/>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wipe(left)">
                                      <p:cBhvr>
                                        <p:cTn id="15" dur="250"/>
                                        <p:tgtEl>
                                          <p:spTgt spid="30"/>
                                        </p:tgtEl>
                                      </p:cBhvr>
                                    </p:animEffect>
                                  </p:childTnLst>
                                </p:cTn>
                              </p:par>
                            </p:childTnLst>
                          </p:cTn>
                        </p:par>
                        <p:par>
                          <p:cTn id="16" fill="hold">
                            <p:stCondLst>
                              <p:cond delay="750"/>
                            </p:stCondLst>
                            <p:childTnLst>
                              <p:par>
                                <p:cTn id="17" presetID="22" presetClass="entr" presetSubtype="8" fill="hold"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wipe(left)">
                                      <p:cBhvr>
                                        <p:cTn id="19" dur="250"/>
                                        <p:tgtEl>
                                          <p:spTgt spid="31"/>
                                        </p:tgtEl>
                                      </p:cBhvr>
                                    </p:animEffect>
                                  </p:childTnLst>
                                </p:cTn>
                              </p:par>
                            </p:childTnLst>
                          </p:cTn>
                        </p:par>
                        <p:par>
                          <p:cTn id="20" fill="hold">
                            <p:stCondLst>
                              <p:cond delay="1000"/>
                            </p:stCondLst>
                            <p:childTnLst>
                              <p:par>
                                <p:cTn id="21" presetID="22" presetClass="entr" presetSubtype="8" fill="hold"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left)">
                                      <p:cBhvr>
                                        <p:cTn id="23" dur="250"/>
                                        <p:tgtEl>
                                          <p:spTgt spid="32"/>
                                        </p:tgtEl>
                                      </p:cBhvr>
                                    </p:animEffect>
                                  </p:childTnLst>
                                </p:cTn>
                              </p:par>
                            </p:childTnLst>
                          </p:cTn>
                        </p:par>
                        <p:par>
                          <p:cTn id="24" fill="hold">
                            <p:stCondLst>
                              <p:cond delay="1250"/>
                            </p:stCondLst>
                            <p:childTnLst>
                              <p:par>
                                <p:cTn id="25" presetID="22" presetClass="entr" presetSubtype="2" fill="hold"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wipe(right)">
                                      <p:cBhvr>
                                        <p:cTn id="27" dur="750"/>
                                        <p:tgtEl>
                                          <p:spTgt spid="33"/>
                                        </p:tgtEl>
                                      </p:cBhvr>
                                    </p:animEffect>
                                  </p:childTnLst>
                                </p:cTn>
                              </p:par>
                            </p:childTnLst>
                          </p:cTn>
                        </p:par>
                        <p:par>
                          <p:cTn id="28" fill="hold">
                            <p:stCondLst>
                              <p:cond delay="2000"/>
                            </p:stCondLst>
                            <p:childTnLst>
                              <p:par>
                                <p:cTn id="29" presetID="22" presetClass="entr" presetSubtype="1" fill="hold" nodeType="afterEffect">
                                  <p:stCondLst>
                                    <p:cond delay="0"/>
                                  </p:stCondLst>
                                  <p:childTnLst>
                                    <p:set>
                                      <p:cBhvr>
                                        <p:cTn id="30" dur="1" fill="hold">
                                          <p:stCondLst>
                                            <p:cond delay="0"/>
                                          </p:stCondLst>
                                        </p:cTn>
                                        <p:tgtEl>
                                          <p:spTgt spid="35"/>
                                        </p:tgtEl>
                                        <p:attrNameLst>
                                          <p:attrName>style.visibility</p:attrName>
                                        </p:attrNameLst>
                                      </p:cBhvr>
                                      <p:to>
                                        <p:strVal val="visible"/>
                                      </p:to>
                                    </p:set>
                                    <p:animEffect transition="in" filter="wipe(up)">
                                      <p:cBhvr>
                                        <p:cTn id="31" dur="250"/>
                                        <p:tgtEl>
                                          <p:spTgt spid="35"/>
                                        </p:tgtEl>
                                      </p:cBhvr>
                                    </p:animEffect>
                                  </p:childTnLst>
                                </p:cTn>
                              </p:par>
                            </p:childTnLst>
                          </p:cTn>
                        </p:par>
                        <p:par>
                          <p:cTn id="32" fill="hold">
                            <p:stCondLst>
                              <p:cond delay="2250"/>
                            </p:stCondLst>
                            <p:childTnLst>
                              <p:par>
                                <p:cTn id="33" presetID="22" presetClass="entr" presetSubtype="8" fill="hold" nodeType="after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wipe(left)">
                                      <p:cBhvr>
                                        <p:cTn id="35" dur="250"/>
                                        <p:tgtEl>
                                          <p:spTgt spid="3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grpId="0" nodeType="clickEffect">
                                  <p:stCondLst>
                                    <p:cond delay="0"/>
                                  </p:stCondLst>
                                  <p:childTnLst>
                                    <p:animEffect transition="out" filter="fade">
                                      <p:cBhvr>
                                        <p:cTn id="39" dur="500"/>
                                        <p:tgtEl>
                                          <p:spTgt spid="1036"/>
                                        </p:tgtEl>
                                      </p:cBhvr>
                                    </p:animEffect>
                                    <p:set>
                                      <p:cBhvr>
                                        <p:cTn id="40" dur="1" fill="hold">
                                          <p:stCondLst>
                                            <p:cond delay="499"/>
                                          </p:stCondLst>
                                        </p:cTn>
                                        <p:tgtEl>
                                          <p:spTgt spid="1036"/>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124"/>
                                        </p:tgtEl>
                                      </p:cBhvr>
                                    </p:animEffect>
                                    <p:set>
                                      <p:cBhvr>
                                        <p:cTn id="43" dur="1" fill="hold">
                                          <p:stCondLst>
                                            <p:cond delay="499"/>
                                          </p:stCondLst>
                                        </p:cTn>
                                        <p:tgtEl>
                                          <p:spTgt spid="124"/>
                                        </p:tgtEl>
                                        <p:attrNameLst>
                                          <p:attrName>style.visibility</p:attrName>
                                        </p:attrNameLst>
                                      </p:cBhvr>
                                      <p:to>
                                        <p:strVal val="hidden"/>
                                      </p:to>
                                    </p:se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36"/>
                                        </p:tgtEl>
                                        <p:attrNameLst>
                                          <p:attrName>style.visibility</p:attrName>
                                        </p:attrNameLst>
                                      </p:cBhvr>
                                      <p:to>
                                        <p:strVal val="visible"/>
                                      </p:to>
                                    </p:set>
                                    <p:animEffect transition="in" filter="wipe(left)">
                                      <p:cBhvr>
                                        <p:cTn id="48" dur="250"/>
                                        <p:tgtEl>
                                          <p:spTgt spid="36"/>
                                        </p:tgtEl>
                                      </p:cBhvr>
                                    </p:animEffect>
                                  </p:childTnLst>
                                </p:cTn>
                              </p:par>
                            </p:childTnLst>
                          </p:cTn>
                        </p:par>
                        <p:par>
                          <p:cTn id="49" fill="hold">
                            <p:stCondLst>
                              <p:cond delay="250"/>
                            </p:stCondLst>
                            <p:childTnLst>
                              <p:par>
                                <p:cTn id="50" presetID="22" presetClass="entr" presetSubtype="8" fill="hold" nodeType="afterEffect">
                                  <p:stCondLst>
                                    <p:cond delay="0"/>
                                  </p:stCondLst>
                                  <p:childTnLst>
                                    <p:set>
                                      <p:cBhvr>
                                        <p:cTn id="51" dur="1" fill="hold">
                                          <p:stCondLst>
                                            <p:cond delay="0"/>
                                          </p:stCondLst>
                                        </p:cTn>
                                        <p:tgtEl>
                                          <p:spTgt spid="37"/>
                                        </p:tgtEl>
                                        <p:attrNameLst>
                                          <p:attrName>style.visibility</p:attrName>
                                        </p:attrNameLst>
                                      </p:cBhvr>
                                      <p:to>
                                        <p:strVal val="visible"/>
                                      </p:to>
                                    </p:set>
                                    <p:animEffect transition="in" filter="wipe(left)">
                                      <p:cBhvr>
                                        <p:cTn id="52" dur="250"/>
                                        <p:tgtEl>
                                          <p:spTgt spid="37"/>
                                        </p:tgtEl>
                                      </p:cBhvr>
                                    </p:animEffect>
                                  </p:childTnLst>
                                </p:cTn>
                              </p:par>
                            </p:childTnLst>
                          </p:cTn>
                        </p:par>
                        <p:par>
                          <p:cTn id="53" fill="hold">
                            <p:stCondLst>
                              <p:cond delay="500"/>
                            </p:stCondLst>
                            <p:childTnLst>
                              <p:par>
                                <p:cTn id="54" presetID="22" presetClass="entr" presetSubtype="8" fill="hold" nodeType="afterEffect">
                                  <p:stCondLst>
                                    <p:cond delay="0"/>
                                  </p:stCondLst>
                                  <p:childTnLst>
                                    <p:set>
                                      <p:cBhvr>
                                        <p:cTn id="55" dur="1" fill="hold">
                                          <p:stCondLst>
                                            <p:cond delay="0"/>
                                          </p:stCondLst>
                                        </p:cTn>
                                        <p:tgtEl>
                                          <p:spTgt spid="38"/>
                                        </p:tgtEl>
                                        <p:attrNameLst>
                                          <p:attrName>style.visibility</p:attrName>
                                        </p:attrNameLst>
                                      </p:cBhvr>
                                      <p:to>
                                        <p:strVal val="visible"/>
                                      </p:to>
                                    </p:set>
                                    <p:animEffect transition="in" filter="wipe(left)">
                                      <p:cBhvr>
                                        <p:cTn id="56" dur="250"/>
                                        <p:tgtEl>
                                          <p:spTgt spid="38"/>
                                        </p:tgtEl>
                                      </p:cBhvr>
                                    </p:animEffect>
                                  </p:childTnLst>
                                </p:cTn>
                              </p:par>
                            </p:childTnLst>
                          </p:cTn>
                        </p:par>
                        <p:par>
                          <p:cTn id="57" fill="hold">
                            <p:stCondLst>
                              <p:cond delay="750"/>
                            </p:stCondLst>
                            <p:childTnLst>
                              <p:par>
                                <p:cTn id="58" presetID="22" presetClass="entr" presetSubtype="8" fill="hold" nodeType="afterEffect">
                                  <p:stCondLst>
                                    <p:cond delay="0"/>
                                  </p:stCondLst>
                                  <p:childTnLst>
                                    <p:set>
                                      <p:cBhvr>
                                        <p:cTn id="59" dur="1" fill="hold">
                                          <p:stCondLst>
                                            <p:cond delay="0"/>
                                          </p:stCondLst>
                                        </p:cTn>
                                        <p:tgtEl>
                                          <p:spTgt spid="39"/>
                                        </p:tgtEl>
                                        <p:attrNameLst>
                                          <p:attrName>style.visibility</p:attrName>
                                        </p:attrNameLst>
                                      </p:cBhvr>
                                      <p:to>
                                        <p:strVal val="visible"/>
                                      </p:to>
                                    </p:set>
                                    <p:animEffect transition="in" filter="wipe(left)">
                                      <p:cBhvr>
                                        <p:cTn id="60" dur="250"/>
                                        <p:tgtEl>
                                          <p:spTgt spid="39"/>
                                        </p:tgtEl>
                                      </p:cBhvr>
                                    </p:animEffect>
                                  </p:childTnLst>
                                </p:cTn>
                              </p:par>
                            </p:childTnLst>
                          </p:cTn>
                        </p:par>
                        <p:par>
                          <p:cTn id="61" fill="hold">
                            <p:stCondLst>
                              <p:cond delay="1000"/>
                            </p:stCondLst>
                            <p:childTnLst>
                              <p:par>
                                <p:cTn id="62" presetID="22" presetClass="entr" presetSubtype="8" fill="hold" nodeType="afterEffect">
                                  <p:stCondLst>
                                    <p:cond delay="0"/>
                                  </p:stCondLst>
                                  <p:childTnLst>
                                    <p:set>
                                      <p:cBhvr>
                                        <p:cTn id="63" dur="1" fill="hold">
                                          <p:stCondLst>
                                            <p:cond delay="0"/>
                                          </p:stCondLst>
                                        </p:cTn>
                                        <p:tgtEl>
                                          <p:spTgt spid="40"/>
                                        </p:tgtEl>
                                        <p:attrNameLst>
                                          <p:attrName>style.visibility</p:attrName>
                                        </p:attrNameLst>
                                      </p:cBhvr>
                                      <p:to>
                                        <p:strVal val="visible"/>
                                      </p:to>
                                    </p:set>
                                    <p:animEffect transition="in" filter="wipe(left)">
                                      <p:cBhvr>
                                        <p:cTn id="64" dur="250"/>
                                        <p:tgtEl>
                                          <p:spTgt spid="40"/>
                                        </p:tgtEl>
                                      </p:cBhvr>
                                    </p:animEffect>
                                  </p:childTnLst>
                                </p:cTn>
                              </p:par>
                            </p:childTnLst>
                          </p:cTn>
                        </p:par>
                        <p:par>
                          <p:cTn id="65" fill="hold">
                            <p:stCondLst>
                              <p:cond delay="1250"/>
                            </p:stCondLst>
                            <p:childTnLst>
                              <p:par>
                                <p:cTn id="66" presetID="22" presetClass="entr" presetSubtype="2" fill="hold" nodeType="afterEffect">
                                  <p:stCondLst>
                                    <p:cond delay="0"/>
                                  </p:stCondLst>
                                  <p:childTnLst>
                                    <p:set>
                                      <p:cBhvr>
                                        <p:cTn id="67" dur="1" fill="hold">
                                          <p:stCondLst>
                                            <p:cond delay="0"/>
                                          </p:stCondLst>
                                        </p:cTn>
                                        <p:tgtEl>
                                          <p:spTgt spid="41"/>
                                        </p:tgtEl>
                                        <p:attrNameLst>
                                          <p:attrName>style.visibility</p:attrName>
                                        </p:attrNameLst>
                                      </p:cBhvr>
                                      <p:to>
                                        <p:strVal val="visible"/>
                                      </p:to>
                                    </p:set>
                                    <p:animEffect transition="in" filter="wipe(right)">
                                      <p:cBhvr>
                                        <p:cTn id="68" dur="750"/>
                                        <p:tgtEl>
                                          <p:spTgt spid="41"/>
                                        </p:tgtEl>
                                      </p:cBhvr>
                                    </p:animEffect>
                                  </p:childTnLst>
                                </p:cTn>
                              </p:par>
                            </p:childTnLst>
                          </p:cTn>
                        </p:par>
                        <p:par>
                          <p:cTn id="69" fill="hold">
                            <p:stCondLst>
                              <p:cond delay="2000"/>
                            </p:stCondLst>
                            <p:childTnLst>
                              <p:par>
                                <p:cTn id="70" presetID="22" presetClass="entr" presetSubtype="4" fill="hold" nodeType="afterEffect">
                                  <p:stCondLst>
                                    <p:cond delay="0"/>
                                  </p:stCondLst>
                                  <p:childTnLst>
                                    <p:set>
                                      <p:cBhvr>
                                        <p:cTn id="71" dur="1" fill="hold">
                                          <p:stCondLst>
                                            <p:cond delay="0"/>
                                          </p:stCondLst>
                                        </p:cTn>
                                        <p:tgtEl>
                                          <p:spTgt spid="43"/>
                                        </p:tgtEl>
                                        <p:attrNameLst>
                                          <p:attrName>style.visibility</p:attrName>
                                        </p:attrNameLst>
                                      </p:cBhvr>
                                      <p:to>
                                        <p:strVal val="visible"/>
                                      </p:to>
                                    </p:set>
                                    <p:animEffect transition="in" filter="wipe(down)">
                                      <p:cBhvr>
                                        <p:cTn id="72" dur="250"/>
                                        <p:tgtEl>
                                          <p:spTgt spid="43"/>
                                        </p:tgtEl>
                                      </p:cBhvr>
                                    </p:animEffect>
                                  </p:childTnLst>
                                </p:cTn>
                              </p:par>
                            </p:childTnLst>
                          </p:cTn>
                        </p:par>
                        <p:par>
                          <p:cTn id="73" fill="hold">
                            <p:stCondLst>
                              <p:cond delay="2250"/>
                            </p:stCondLst>
                            <p:childTnLst>
                              <p:par>
                                <p:cTn id="74" presetID="22" presetClass="entr" presetSubtype="8" fill="hold" nodeType="afterEffect">
                                  <p:stCondLst>
                                    <p:cond delay="0"/>
                                  </p:stCondLst>
                                  <p:childTnLst>
                                    <p:set>
                                      <p:cBhvr>
                                        <p:cTn id="75" dur="1" fill="hold">
                                          <p:stCondLst>
                                            <p:cond delay="0"/>
                                          </p:stCondLst>
                                        </p:cTn>
                                        <p:tgtEl>
                                          <p:spTgt spid="42"/>
                                        </p:tgtEl>
                                        <p:attrNameLst>
                                          <p:attrName>style.visibility</p:attrName>
                                        </p:attrNameLst>
                                      </p:cBhvr>
                                      <p:to>
                                        <p:strVal val="visible"/>
                                      </p:to>
                                    </p:set>
                                    <p:animEffect transition="in" filter="wipe(left)">
                                      <p:cBhvr>
                                        <p:cTn id="76" dur="250"/>
                                        <p:tgtEl>
                                          <p:spTgt spid="42"/>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xit" presetSubtype="0" fill="hold" nodeType="clickEffect">
                                  <p:stCondLst>
                                    <p:cond delay="0"/>
                                  </p:stCondLst>
                                  <p:childTnLst>
                                    <p:animEffect transition="out" filter="fade">
                                      <p:cBhvr>
                                        <p:cTn id="80" dur="500"/>
                                        <p:tgtEl>
                                          <p:spTgt spid="28"/>
                                        </p:tgtEl>
                                      </p:cBhvr>
                                    </p:animEffect>
                                    <p:set>
                                      <p:cBhvr>
                                        <p:cTn id="81" dur="1" fill="hold">
                                          <p:stCondLst>
                                            <p:cond delay="499"/>
                                          </p:stCondLst>
                                        </p:cTn>
                                        <p:tgtEl>
                                          <p:spTgt spid="28"/>
                                        </p:tgtEl>
                                        <p:attrNameLst>
                                          <p:attrName>style.visibility</p:attrName>
                                        </p:attrNameLst>
                                      </p:cBhvr>
                                      <p:to>
                                        <p:strVal val="hidden"/>
                                      </p:to>
                                    </p:set>
                                  </p:childTnLst>
                                </p:cTn>
                              </p:par>
                              <p:par>
                                <p:cTn id="82" presetID="10" presetClass="exit" presetSubtype="0" fill="hold" nodeType="withEffect">
                                  <p:stCondLst>
                                    <p:cond delay="0"/>
                                  </p:stCondLst>
                                  <p:childTnLst>
                                    <p:animEffect transition="out" filter="fade">
                                      <p:cBhvr>
                                        <p:cTn id="83" dur="500"/>
                                        <p:tgtEl>
                                          <p:spTgt spid="29"/>
                                        </p:tgtEl>
                                      </p:cBhvr>
                                    </p:animEffect>
                                    <p:set>
                                      <p:cBhvr>
                                        <p:cTn id="84" dur="1" fill="hold">
                                          <p:stCondLst>
                                            <p:cond delay="499"/>
                                          </p:stCondLst>
                                        </p:cTn>
                                        <p:tgtEl>
                                          <p:spTgt spid="29"/>
                                        </p:tgtEl>
                                        <p:attrNameLst>
                                          <p:attrName>style.visibility</p:attrName>
                                        </p:attrNameLst>
                                      </p:cBhvr>
                                      <p:to>
                                        <p:strVal val="hidden"/>
                                      </p:to>
                                    </p:set>
                                  </p:childTnLst>
                                </p:cTn>
                              </p:par>
                              <p:par>
                                <p:cTn id="85" presetID="10" presetClass="exit" presetSubtype="0" fill="hold" nodeType="withEffect">
                                  <p:stCondLst>
                                    <p:cond delay="0"/>
                                  </p:stCondLst>
                                  <p:childTnLst>
                                    <p:animEffect transition="out" filter="fade">
                                      <p:cBhvr>
                                        <p:cTn id="86" dur="500"/>
                                        <p:tgtEl>
                                          <p:spTgt spid="30"/>
                                        </p:tgtEl>
                                      </p:cBhvr>
                                    </p:animEffect>
                                    <p:set>
                                      <p:cBhvr>
                                        <p:cTn id="87" dur="1" fill="hold">
                                          <p:stCondLst>
                                            <p:cond delay="499"/>
                                          </p:stCondLst>
                                        </p:cTn>
                                        <p:tgtEl>
                                          <p:spTgt spid="30"/>
                                        </p:tgtEl>
                                        <p:attrNameLst>
                                          <p:attrName>style.visibility</p:attrName>
                                        </p:attrNameLst>
                                      </p:cBhvr>
                                      <p:to>
                                        <p:strVal val="hidden"/>
                                      </p:to>
                                    </p:set>
                                  </p:childTnLst>
                                </p:cTn>
                              </p:par>
                              <p:par>
                                <p:cTn id="88" presetID="10" presetClass="exit" presetSubtype="0" fill="hold" nodeType="withEffect">
                                  <p:stCondLst>
                                    <p:cond delay="0"/>
                                  </p:stCondLst>
                                  <p:childTnLst>
                                    <p:animEffect transition="out" filter="fade">
                                      <p:cBhvr>
                                        <p:cTn id="89" dur="500"/>
                                        <p:tgtEl>
                                          <p:spTgt spid="31"/>
                                        </p:tgtEl>
                                      </p:cBhvr>
                                    </p:animEffect>
                                    <p:set>
                                      <p:cBhvr>
                                        <p:cTn id="90" dur="1" fill="hold">
                                          <p:stCondLst>
                                            <p:cond delay="499"/>
                                          </p:stCondLst>
                                        </p:cTn>
                                        <p:tgtEl>
                                          <p:spTgt spid="31"/>
                                        </p:tgtEl>
                                        <p:attrNameLst>
                                          <p:attrName>style.visibility</p:attrName>
                                        </p:attrNameLst>
                                      </p:cBhvr>
                                      <p:to>
                                        <p:strVal val="hidden"/>
                                      </p:to>
                                    </p:set>
                                  </p:childTnLst>
                                </p:cTn>
                              </p:par>
                              <p:par>
                                <p:cTn id="91" presetID="10" presetClass="exit" presetSubtype="0" fill="hold" nodeType="withEffect">
                                  <p:stCondLst>
                                    <p:cond delay="0"/>
                                  </p:stCondLst>
                                  <p:childTnLst>
                                    <p:animEffect transition="out" filter="fade">
                                      <p:cBhvr>
                                        <p:cTn id="92" dur="500"/>
                                        <p:tgtEl>
                                          <p:spTgt spid="32"/>
                                        </p:tgtEl>
                                      </p:cBhvr>
                                    </p:animEffect>
                                    <p:set>
                                      <p:cBhvr>
                                        <p:cTn id="93" dur="1" fill="hold">
                                          <p:stCondLst>
                                            <p:cond delay="499"/>
                                          </p:stCondLst>
                                        </p:cTn>
                                        <p:tgtEl>
                                          <p:spTgt spid="32"/>
                                        </p:tgtEl>
                                        <p:attrNameLst>
                                          <p:attrName>style.visibility</p:attrName>
                                        </p:attrNameLst>
                                      </p:cBhvr>
                                      <p:to>
                                        <p:strVal val="hidden"/>
                                      </p:to>
                                    </p:set>
                                  </p:childTnLst>
                                </p:cTn>
                              </p:par>
                              <p:par>
                                <p:cTn id="94" presetID="10" presetClass="exit" presetSubtype="0" fill="hold" nodeType="withEffect">
                                  <p:stCondLst>
                                    <p:cond delay="0"/>
                                  </p:stCondLst>
                                  <p:childTnLst>
                                    <p:animEffect transition="out" filter="fade">
                                      <p:cBhvr>
                                        <p:cTn id="95" dur="500"/>
                                        <p:tgtEl>
                                          <p:spTgt spid="33"/>
                                        </p:tgtEl>
                                      </p:cBhvr>
                                    </p:animEffect>
                                    <p:set>
                                      <p:cBhvr>
                                        <p:cTn id="96" dur="1" fill="hold">
                                          <p:stCondLst>
                                            <p:cond delay="499"/>
                                          </p:stCondLst>
                                        </p:cTn>
                                        <p:tgtEl>
                                          <p:spTgt spid="33"/>
                                        </p:tgtEl>
                                        <p:attrNameLst>
                                          <p:attrName>style.visibility</p:attrName>
                                        </p:attrNameLst>
                                      </p:cBhvr>
                                      <p:to>
                                        <p:strVal val="hidden"/>
                                      </p:to>
                                    </p:set>
                                  </p:childTnLst>
                                </p:cTn>
                              </p:par>
                              <p:par>
                                <p:cTn id="97" presetID="10" presetClass="exit" presetSubtype="0" fill="hold" nodeType="withEffect">
                                  <p:stCondLst>
                                    <p:cond delay="0"/>
                                  </p:stCondLst>
                                  <p:childTnLst>
                                    <p:animEffect transition="out" filter="fade">
                                      <p:cBhvr>
                                        <p:cTn id="98" dur="500"/>
                                        <p:tgtEl>
                                          <p:spTgt spid="35"/>
                                        </p:tgtEl>
                                      </p:cBhvr>
                                    </p:animEffect>
                                    <p:set>
                                      <p:cBhvr>
                                        <p:cTn id="99" dur="1" fill="hold">
                                          <p:stCondLst>
                                            <p:cond delay="499"/>
                                          </p:stCondLst>
                                        </p:cTn>
                                        <p:tgtEl>
                                          <p:spTgt spid="35"/>
                                        </p:tgtEl>
                                        <p:attrNameLst>
                                          <p:attrName>style.visibility</p:attrName>
                                        </p:attrNameLst>
                                      </p:cBhvr>
                                      <p:to>
                                        <p:strVal val="hidden"/>
                                      </p:to>
                                    </p:set>
                                  </p:childTnLst>
                                </p:cTn>
                              </p:par>
                              <p:par>
                                <p:cTn id="100" presetID="10" presetClass="exit" presetSubtype="0" fill="hold" nodeType="withEffect">
                                  <p:stCondLst>
                                    <p:cond delay="0"/>
                                  </p:stCondLst>
                                  <p:childTnLst>
                                    <p:animEffect transition="out" filter="fade">
                                      <p:cBhvr>
                                        <p:cTn id="101" dur="500"/>
                                        <p:tgtEl>
                                          <p:spTgt spid="34"/>
                                        </p:tgtEl>
                                      </p:cBhvr>
                                    </p:animEffect>
                                    <p:set>
                                      <p:cBhvr>
                                        <p:cTn id="102" dur="1" fill="hold">
                                          <p:stCondLst>
                                            <p:cond delay="499"/>
                                          </p:stCondLst>
                                        </p:cTn>
                                        <p:tgtEl>
                                          <p:spTgt spid="34"/>
                                        </p:tgtEl>
                                        <p:attrNameLst>
                                          <p:attrName>style.visibility</p:attrName>
                                        </p:attrNameLst>
                                      </p:cBhvr>
                                      <p:to>
                                        <p:strVal val="hidden"/>
                                      </p:to>
                                    </p:set>
                                  </p:childTnLst>
                                </p:cTn>
                              </p:par>
                              <p:par>
                                <p:cTn id="103" presetID="10" presetClass="exit" presetSubtype="0" fill="hold" nodeType="withEffect">
                                  <p:stCondLst>
                                    <p:cond delay="0"/>
                                  </p:stCondLst>
                                  <p:childTnLst>
                                    <p:animEffect transition="out" filter="fade">
                                      <p:cBhvr>
                                        <p:cTn id="104" dur="500"/>
                                        <p:tgtEl>
                                          <p:spTgt spid="36"/>
                                        </p:tgtEl>
                                      </p:cBhvr>
                                    </p:animEffect>
                                    <p:set>
                                      <p:cBhvr>
                                        <p:cTn id="105" dur="1" fill="hold">
                                          <p:stCondLst>
                                            <p:cond delay="499"/>
                                          </p:stCondLst>
                                        </p:cTn>
                                        <p:tgtEl>
                                          <p:spTgt spid="36"/>
                                        </p:tgtEl>
                                        <p:attrNameLst>
                                          <p:attrName>style.visibility</p:attrName>
                                        </p:attrNameLst>
                                      </p:cBhvr>
                                      <p:to>
                                        <p:strVal val="hidden"/>
                                      </p:to>
                                    </p:set>
                                  </p:childTnLst>
                                </p:cTn>
                              </p:par>
                              <p:par>
                                <p:cTn id="106" presetID="10" presetClass="exit" presetSubtype="0" fill="hold" nodeType="withEffect">
                                  <p:stCondLst>
                                    <p:cond delay="0"/>
                                  </p:stCondLst>
                                  <p:childTnLst>
                                    <p:animEffect transition="out" filter="fade">
                                      <p:cBhvr>
                                        <p:cTn id="107" dur="500"/>
                                        <p:tgtEl>
                                          <p:spTgt spid="37"/>
                                        </p:tgtEl>
                                      </p:cBhvr>
                                    </p:animEffect>
                                    <p:set>
                                      <p:cBhvr>
                                        <p:cTn id="108" dur="1" fill="hold">
                                          <p:stCondLst>
                                            <p:cond delay="499"/>
                                          </p:stCondLst>
                                        </p:cTn>
                                        <p:tgtEl>
                                          <p:spTgt spid="37"/>
                                        </p:tgtEl>
                                        <p:attrNameLst>
                                          <p:attrName>style.visibility</p:attrName>
                                        </p:attrNameLst>
                                      </p:cBhvr>
                                      <p:to>
                                        <p:strVal val="hidden"/>
                                      </p:to>
                                    </p:set>
                                  </p:childTnLst>
                                </p:cTn>
                              </p:par>
                              <p:par>
                                <p:cTn id="109" presetID="10" presetClass="exit" presetSubtype="0" fill="hold" nodeType="withEffect">
                                  <p:stCondLst>
                                    <p:cond delay="0"/>
                                  </p:stCondLst>
                                  <p:childTnLst>
                                    <p:animEffect transition="out" filter="fade">
                                      <p:cBhvr>
                                        <p:cTn id="110" dur="500"/>
                                        <p:tgtEl>
                                          <p:spTgt spid="38"/>
                                        </p:tgtEl>
                                      </p:cBhvr>
                                    </p:animEffect>
                                    <p:set>
                                      <p:cBhvr>
                                        <p:cTn id="111" dur="1" fill="hold">
                                          <p:stCondLst>
                                            <p:cond delay="499"/>
                                          </p:stCondLst>
                                        </p:cTn>
                                        <p:tgtEl>
                                          <p:spTgt spid="38"/>
                                        </p:tgtEl>
                                        <p:attrNameLst>
                                          <p:attrName>style.visibility</p:attrName>
                                        </p:attrNameLst>
                                      </p:cBhvr>
                                      <p:to>
                                        <p:strVal val="hidden"/>
                                      </p:to>
                                    </p:set>
                                  </p:childTnLst>
                                </p:cTn>
                              </p:par>
                              <p:par>
                                <p:cTn id="112" presetID="10" presetClass="exit" presetSubtype="0" fill="hold" nodeType="withEffect">
                                  <p:stCondLst>
                                    <p:cond delay="0"/>
                                  </p:stCondLst>
                                  <p:childTnLst>
                                    <p:animEffect transition="out" filter="fade">
                                      <p:cBhvr>
                                        <p:cTn id="113" dur="500"/>
                                        <p:tgtEl>
                                          <p:spTgt spid="39"/>
                                        </p:tgtEl>
                                      </p:cBhvr>
                                    </p:animEffect>
                                    <p:set>
                                      <p:cBhvr>
                                        <p:cTn id="114" dur="1" fill="hold">
                                          <p:stCondLst>
                                            <p:cond delay="499"/>
                                          </p:stCondLst>
                                        </p:cTn>
                                        <p:tgtEl>
                                          <p:spTgt spid="39"/>
                                        </p:tgtEl>
                                        <p:attrNameLst>
                                          <p:attrName>style.visibility</p:attrName>
                                        </p:attrNameLst>
                                      </p:cBhvr>
                                      <p:to>
                                        <p:strVal val="hidden"/>
                                      </p:to>
                                    </p:set>
                                  </p:childTnLst>
                                </p:cTn>
                              </p:par>
                              <p:par>
                                <p:cTn id="115" presetID="10" presetClass="exit" presetSubtype="0" fill="hold" nodeType="withEffect">
                                  <p:stCondLst>
                                    <p:cond delay="0"/>
                                  </p:stCondLst>
                                  <p:childTnLst>
                                    <p:animEffect transition="out" filter="fade">
                                      <p:cBhvr>
                                        <p:cTn id="116" dur="500"/>
                                        <p:tgtEl>
                                          <p:spTgt spid="40"/>
                                        </p:tgtEl>
                                      </p:cBhvr>
                                    </p:animEffect>
                                    <p:set>
                                      <p:cBhvr>
                                        <p:cTn id="117" dur="1" fill="hold">
                                          <p:stCondLst>
                                            <p:cond delay="499"/>
                                          </p:stCondLst>
                                        </p:cTn>
                                        <p:tgtEl>
                                          <p:spTgt spid="40"/>
                                        </p:tgtEl>
                                        <p:attrNameLst>
                                          <p:attrName>style.visibility</p:attrName>
                                        </p:attrNameLst>
                                      </p:cBhvr>
                                      <p:to>
                                        <p:strVal val="hidden"/>
                                      </p:to>
                                    </p:set>
                                  </p:childTnLst>
                                </p:cTn>
                              </p:par>
                              <p:par>
                                <p:cTn id="118" presetID="10" presetClass="exit" presetSubtype="0" fill="hold" nodeType="withEffect">
                                  <p:stCondLst>
                                    <p:cond delay="0"/>
                                  </p:stCondLst>
                                  <p:childTnLst>
                                    <p:animEffect transition="out" filter="fade">
                                      <p:cBhvr>
                                        <p:cTn id="119" dur="500"/>
                                        <p:tgtEl>
                                          <p:spTgt spid="41"/>
                                        </p:tgtEl>
                                      </p:cBhvr>
                                    </p:animEffect>
                                    <p:set>
                                      <p:cBhvr>
                                        <p:cTn id="120" dur="1" fill="hold">
                                          <p:stCondLst>
                                            <p:cond delay="499"/>
                                          </p:stCondLst>
                                        </p:cTn>
                                        <p:tgtEl>
                                          <p:spTgt spid="41"/>
                                        </p:tgtEl>
                                        <p:attrNameLst>
                                          <p:attrName>style.visibility</p:attrName>
                                        </p:attrNameLst>
                                      </p:cBhvr>
                                      <p:to>
                                        <p:strVal val="hidden"/>
                                      </p:to>
                                    </p:set>
                                  </p:childTnLst>
                                </p:cTn>
                              </p:par>
                              <p:par>
                                <p:cTn id="121" presetID="10" presetClass="exit" presetSubtype="0" fill="hold" nodeType="withEffect">
                                  <p:stCondLst>
                                    <p:cond delay="0"/>
                                  </p:stCondLst>
                                  <p:childTnLst>
                                    <p:animEffect transition="out" filter="fade">
                                      <p:cBhvr>
                                        <p:cTn id="122" dur="500"/>
                                        <p:tgtEl>
                                          <p:spTgt spid="43"/>
                                        </p:tgtEl>
                                      </p:cBhvr>
                                    </p:animEffect>
                                    <p:set>
                                      <p:cBhvr>
                                        <p:cTn id="123" dur="1" fill="hold">
                                          <p:stCondLst>
                                            <p:cond delay="499"/>
                                          </p:stCondLst>
                                        </p:cTn>
                                        <p:tgtEl>
                                          <p:spTgt spid="43"/>
                                        </p:tgtEl>
                                        <p:attrNameLst>
                                          <p:attrName>style.visibility</p:attrName>
                                        </p:attrNameLst>
                                      </p:cBhvr>
                                      <p:to>
                                        <p:strVal val="hidden"/>
                                      </p:to>
                                    </p:set>
                                  </p:childTnLst>
                                </p:cTn>
                              </p:par>
                              <p:par>
                                <p:cTn id="124" presetID="10" presetClass="exit" presetSubtype="0" fill="hold" nodeType="withEffect">
                                  <p:stCondLst>
                                    <p:cond delay="0"/>
                                  </p:stCondLst>
                                  <p:childTnLst>
                                    <p:animEffect transition="out" filter="fade">
                                      <p:cBhvr>
                                        <p:cTn id="125" dur="500"/>
                                        <p:tgtEl>
                                          <p:spTgt spid="42"/>
                                        </p:tgtEl>
                                      </p:cBhvr>
                                    </p:animEffect>
                                    <p:set>
                                      <p:cBhvr>
                                        <p:cTn id="126" dur="1" fill="hold">
                                          <p:stCondLst>
                                            <p:cond delay="499"/>
                                          </p:stCondLst>
                                        </p:cTn>
                                        <p:tgtEl>
                                          <p:spTgt spid="42"/>
                                        </p:tgtEl>
                                        <p:attrNameLst>
                                          <p:attrName>style.visibility</p:attrName>
                                        </p:attrNameLst>
                                      </p:cBhvr>
                                      <p:to>
                                        <p:strVal val="hidden"/>
                                      </p:to>
                                    </p:set>
                                  </p:childTnLst>
                                </p:cTn>
                              </p:par>
                              <p:par>
                                <p:cTn id="127" presetID="10" presetClass="entr" presetSubtype="0" fill="hold" grpId="1" nodeType="withEffect">
                                  <p:stCondLst>
                                    <p:cond delay="0"/>
                                  </p:stCondLst>
                                  <p:childTnLst>
                                    <p:set>
                                      <p:cBhvr>
                                        <p:cTn id="128" dur="1" fill="hold">
                                          <p:stCondLst>
                                            <p:cond delay="0"/>
                                          </p:stCondLst>
                                        </p:cTn>
                                        <p:tgtEl>
                                          <p:spTgt spid="1036"/>
                                        </p:tgtEl>
                                        <p:attrNameLst>
                                          <p:attrName>style.visibility</p:attrName>
                                        </p:attrNameLst>
                                      </p:cBhvr>
                                      <p:to>
                                        <p:strVal val="visible"/>
                                      </p:to>
                                    </p:set>
                                    <p:animEffect transition="in" filter="fade">
                                      <p:cBhvr>
                                        <p:cTn id="129" dur="500"/>
                                        <p:tgtEl>
                                          <p:spTgt spid="1036"/>
                                        </p:tgtEl>
                                      </p:cBhvr>
                                    </p:animEffect>
                                  </p:childTnLst>
                                </p:cTn>
                              </p:par>
                              <p:par>
                                <p:cTn id="130" presetID="10" presetClass="entr" presetSubtype="0" fill="hold" nodeType="withEffect">
                                  <p:stCondLst>
                                    <p:cond delay="0"/>
                                  </p:stCondLst>
                                  <p:childTnLst>
                                    <p:set>
                                      <p:cBhvr>
                                        <p:cTn id="131" dur="1" fill="hold">
                                          <p:stCondLst>
                                            <p:cond delay="0"/>
                                          </p:stCondLst>
                                        </p:cTn>
                                        <p:tgtEl>
                                          <p:spTgt spid="124"/>
                                        </p:tgtEl>
                                        <p:attrNameLst>
                                          <p:attrName>style.visibility</p:attrName>
                                        </p:attrNameLst>
                                      </p:cBhvr>
                                      <p:to>
                                        <p:strVal val="visible"/>
                                      </p:to>
                                    </p:set>
                                    <p:animEffect transition="in" filter="fade">
                                      <p:cBhvr>
                                        <p:cTn id="132" dur="500"/>
                                        <p:tgtEl>
                                          <p:spTgt spid="124"/>
                                        </p:tgtEl>
                                      </p:cBhvr>
                                    </p:animEffect>
                                  </p:childTnLst>
                                </p:cTn>
                              </p:par>
                            </p:childTnLst>
                          </p:cTn>
                        </p:par>
                        <p:par>
                          <p:cTn id="133" fill="hold">
                            <p:stCondLst>
                              <p:cond delay="500"/>
                            </p:stCondLst>
                            <p:childTnLst>
                              <p:par>
                                <p:cTn id="134" presetID="22" presetClass="entr" presetSubtype="8" fill="hold" nodeType="afterEffect">
                                  <p:stCondLst>
                                    <p:cond delay="0"/>
                                  </p:stCondLst>
                                  <p:childTnLst>
                                    <p:set>
                                      <p:cBhvr>
                                        <p:cTn id="135" dur="1" fill="hold">
                                          <p:stCondLst>
                                            <p:cond delay="0"/>
                                          </p:stCondLst>
                                        </p:cTn>
                                        <p:tgtEl>
                                          <p:spTgt spid="28"/>
                                        </p:tgtEl>
                                        <p:attrNameLst>
                                          <p:attrName>style.visibility</p:attrName>
                                        </p:attrNameLst>
                                      </p:cBhvr>
                                      <p:to>
                                        <p:strVal val="visible"/>
                                      </p:to>
                                    </p:set>
                                    <p:animEffect transition="in" filter="wipe(left)">
                                      <p:cBhvr>
                                        <p:cTn id="136" dur="250"/>
                                        <p:tgtEl>
                                          <p:spTgt spid="28"/>
                                        </p:tgtEl>
                                      </p:cBhvr>
                                    </p:animEffect>
                                  </p:childTnLst>
                                </p:cTn>
                              </p:par>
                            </p:childTnLst>
                          </p:cTn>
                        </p:par>
                        <p:par>
                          <p:cTn id="137" fill="hold">
                            <p:stCondLst>
                              <p:cond delay="750"/>
                            </p:stCondLst>
                            <p:childTnLst>
                              <p:par>
                                <p:cTn id="138" presetID="22" presetClass="entr" presetSubtype="8" fill="hold" nodeType="afterEffect">
                                  <p:stCondLst>
                                    <p:cond delay="0"/>
                                  </p:stCondLst>
                                  <p:childTnLst>
                                    <p:set>
                                      <p:cBhvr>
                                        <p:cTn id="139" dur="1" fill="hold">
                                          <p:stCondLst>
                                            <p:cond delay="0"/>
                                          </p:stCondLst>
                                        </p:cTn>
                                        <p:tgtEl>
                                          <p:spTgt spid="29"/>
                                        </p:tgtEl>
                                        <p:attrNameLst>
                                          <p:attrName>style.visibility</p:attrName>
                                        </p:attrNameLst>
                                      </p:cBhvr>
                                      <p:to>
                                        <p:strVal val="visible"/>
                                      </p:to>
                                    </p:set>
                                    <p:animEffect transition="in" filter="wipe(left)">
                                      <p:cBhvr>
                                        <p:cTn id="140" dur="250"/>
                                        <p:tgtEl>
                                          <p:spTgt spid="29"/>
                                        </p:tgtEl>
                                      </p:cBhvr>
                                    </p:animEffect>
                                  </p:childTnLst>
                                </p:cTn>
                              </p:par>
                            </p:childTnLst>
                          </p:cTn>
                        </p:par>
                        <p:par>
                          <p:cTn id="141" fill="hold">
                            <p:stCondLst>
                              <p:cond delay="1000"/>
                            </p:stCondLst>
                            <p:childTnLst>
                              <p:par>
                                <p:cTn id="142" presetID="22" presetClass="entr" presetSubtype="1" fill="hold" nodeType="afterEffect">
                                  <p:stCondLst>
                                    <p:cond delay="0"/>
                                  </p:stCondLst>
                                  <p:childTnLst>
                                    <p:set>
                                      <p:cBhvr>
                                        <p:cTn id="143" dur="1" fill="hold">
                                          <p:stCondLst>
                                            <p:cond delay="0"/>
                                          </p:stCondLst>
                                        </p:cTn>
                                        <p:tgtEl>
                                          <p:spTgt spid="48"/>
                                        </p:tgtEl>
                                        <p:attrNameLst>
                                          <p:attrName>style.visibility</p:attrName>
                                        </p:attrNameLst>
                                      </p:cBhvr>
                                      <p:to>
                                        <p:strVal val="visible"/>
                                      </p:to>
                                    </p:set>
                                    <p:animEffect transition="in" filter="wipe(up)">
                                      <p:cBhvr>
                                        <p:cTn id="144" dur="250"/>
                                        <p:tgtEl>
                                          <p:spTgt spid="48"/>
                                        </p:tgtEl>
                                      </p:cBhvr>
                                    </p:animEffect>
                                  </p:childTnLst>
                                </p:cTn>
                              </p:par>
                            </p:childTnLst>
                          </p:cTn>
                        </p:par>
                        <p:par>
                          <p:cTn id="145" fill="hold">
                            <p:stCondLst>
                              <p:cond delay="1250"/>
                            </p:stCondLst>
                            <p:childTnLst>
                              <p:par>
                                <p:cTn id="146" presetID="22" presetClass="entr" presetSubtype="4" fill="hold" nodeType="afterEffect">
                                  <p:stCondLst>
                                    <p:cond delay="0"/>
                                  </p:stCondLst>
                                  <p:childTnLst>
                                    <p:set>
                                      <p:cBhvr>
                                        <p:cTn id="147" dur="1" fill="hold">
                                          <p:stCondLst>
                                            <p:cond delay="0"/>
                                          </p:stCondLst>
                                        </p:cTn>
                                        <p:tgtEl>
                                          <p:spTgt spid="49"/>
                                        </p:tgtEl>
                                        <p:attrNameLst>
                                          <p:attrName>style.visibility</p:attrName>
                                        </p:attrNameLst>
                                      </p:cBhvr>
                                      <p:to>
                                        <p:strVal val="visible"/>
                                      </p:to>
                                    </p:set>
                                    <p:animEffect transition="in" filter="wipe(down)">
                                      <p:cBhvr>
                                        <p:cTn id="148" dur="250"/>
                                        <p:tgtEl>
                                          <p:spTgt spid="49"/>
                                        </p:tgtEl>
                                      </p:cBhvr>
                                    </p:animEffect>
                                  </p:childTnLst>
                                </p:cTn>
                              </p:par>
                            </p:childTnLst>
                          </p:cTn>
                        </p:par>
                        <p:par>
                          <p:cTn id="149" fill="hold">
                            <p:stCondLst>
                              <p:cond delay="1500"/>
                            </p:stCondLst>
                            <p:childTnLst>
                              <p:par>
                                <p:cTn id="150" presetID="22" presetClass="entr" presetSubtype="8" fill="hold" nodeType="afterEffect">
                                  <p:stCondLst>
                                    <p:cond delay="0"/>
                                  </p:stCondLst>
                                  <p:childTnLst>
                                    <p:set>
                                      <p:cBhvr>
                                        <p:cTn id="151" dur="1" fill="hold">
                                          <p:stCondLst>
                                            <p:cond delay="0"/>
                                          </p:stCondLst>
                                        </p:cTn>
                                        <p:tgtEl>
                                          <p:spTgt spid="30"/>
                                        </p:tgtEl>
                                        <p:attrNameLst>
                                          <p:attrName>style.visibility</p:attrName>
                                        </p:attrNameLst>
                                      </p:cBhvr>
                                      <p:to>
                                        <p:strVal val="visible"/>
                                      </p:to>
                                    </p:set>
                                    <p:animEffect transition="in" filter="wipe(left)">
                                      <p:cBhvr>
                                        <p:cTn id="152" dur="250"/>
                                        <p:tgtEl>
                                          <p:spTgt spid="30"/>
                                        </p:tgtEl>
                                      </p:cBhvr>
                                    </p:animEffect>
                                  </p:childTnLst>
                                </p:cTn>
                              </p:par>
                            </p:childTnLst>
                          </p:cTn>
                        </p:par>
                        <p:par>
                          <p:cTn id="153" fill="hold">
                            <p:stCondLst>
                              <p:cond delay="1750"/>
                            </p:stCondLst>
                            <p:childTnLst>
                              <p:par>
                                <p:cTn id="154" presetID="22" presetClass="entr" presetSubtype="1" fill="hold" nodeType="afterEffect">
                                  <p:stCondLst>
                                    <p:cond delay="0"/>
                                  </p:stCondLst>
                                  <p:childTnLst>
                                    <p:set>
                                      <p:cBhvr>
                                        <p:cTn id="155" dur="1" fill="hold">
                                          <p:stCondLst>
                                            <p:cond delay="0"/>
                                          </p:stCondLst>
                                        </p:cTn>
                                        <p:tgtEl>
                                          <p:spTgt spid="50"/>
                                        </p:tgtEl>
                                        <p:attrNameLst>
                                          <p:attrName>style.visibility</p:attrName>
                                        </p:attrNameLst>
                                      </p:cBhvr>
                                      <p:to>
                                        <p:strVal val="visible"/>
                                      </p:to>
                                    </p:set>
                                    <p:animEffect transition="in" filter="wipe(up)">
                                      <p:cBhvr>
                                        <p:cTn id="156" dur="250"/>
                                        <p:tgtEl>
                                          <p:spTgt spid="50"/>
                                        </p:tgtEl>
                                      </p:cBhvr>
                                    </p:animEffect>
                                  </p:childTnLst>
                                </p:cTn>
                              </p:par>
                            </p:childTnLst>
                          </p:cTn>
                        </p:par>
                        <p:par>
                          <p:cTn id="157" fill="hold">
                            <p:stCondLst>
                              <p:cond delay="2000"/>
                            </p:stCondLst>
                            <p:childTnLst>
                              <p:par>
                                <p:cTn id="158" presetID="22" presetClass="entr" presetSubtype="4" fill="hold" nodeType="afterEffect">
                                  <p:stCondLst>
                                    <p:cond delay="0"/>
                                  </p:stCondLst>
                                  <p:childTnLst>
                                    <p:set>
                                      <p:cBhvr>
                                        <p:cTn id="159" dur="1" fill="hold">
                                          <p:stCondLst>
                                            <p:cond delay="0"/>
                                          </p:stCondLst>
                                        </p:cTn>
                                        <p:tgtEl>
                                          <p:spTgt spid="51"/>
                                        </p:tgtEl>
                                        <p:attrNameLst>
                                          <p:attrName>style.visibility</p:attrName>
                                        </p:attrNameLst>
                                      </p:cBhvr>
                                      <p:to>
                                        <p:strVal val="visible"/>
                                      </p:to>
                                    </p:set>
                                    <p:animEffect transition="in" filter="wipe(down)">
                                      <p:cBhvr>
                                        <p:cTn id="160" dur="250"/>
                                        <p:tgtEl>
                                          <p:spTgt spid="51"/>
                                        </p:tgtEl>
                                      </p:cBhvr>
                                    </p:animEffect>
                                  </p:childTnLst>
                                </p:cTn>
                              </p:par>
                            </p:childTnLst>
                          </p:cTn>
                        </p:par>
                        <p:par>
                          <p:cTn id="161" fill="hold">
                            <p:stCondLst>
                              <p:cond delay="2250"/>
                            </p:stCondLst>
                            <p:childTnLst>
                              <p:par>
                                <p:cTn id="162" presetID="22" presetClass="entr" presetSubtype="8" fill="hold" nodeType="afterEffect">
                                  <p:stCondLst>
                                    <p:cond delay="0"/>
                                  </p:stCondLst>
                                  <p:childTnLst>
                                    <p:set>
                                      <p:cBhvr>
                                        <p:cTn id="163" dur="1" fill="hold">
                                          <p:stCondLst>
                                            <p:cond delay="0"/>
                                          </p:stCondLst>
                                        </p:cTn>
                                        <p:tgtEl>
                                          <p:spTgt spid="31"/>
                                        </p:tgtEl>
                                        <p:attrNameLst>
                                          <p:attrName>style.visibility</p:attrName>
                                        </p:attrNameLst>
                                      </p:cBhvr>
                                      <p:to>
                                        <p:strVal val="visible"/>
                                      </p:to>
                                    </p:set>
                                    <p:animEffect transition="in" filter="wipe(left)">
                                      <p:cBhvr>
                                        <p:cTn id="164" dur="250"/>
                                        <p:tgtEl>
                                          <p:spTgt spid="31"/>
                                        </p:tgtEl>
                                      </p:cBhvr>
                                    </p:animEffect>
                                  </p:childTnLst>
                                </p:cTn>
                              </p:par>
                            </p:childTnLst>
                          </p:cTn>
                        </p:par>
                        <p:par>
                          <p:cTn id="165" fill="hold">
                            <p:stCondLst>
                              <p:cond delay="2500"/>
                            </p:stCondLst>
                            <p:childTnLst>
                              <p:par>
                                <p:cTn id="166" presetID="22" presetClass="entr" presetSubtype="8" fill="hold" nodeType="afterEffect">
                                  <p:stCondLst>
                                    <p:cond delay="0"/>
                                  </p:stCondLst>
                                  <p:childTnLst>
                                    <p:set>
                                      <p:cBhvr>
                                        <p:cTn id="167" dur="1" fill="hold">
                                          <p:stCondLst>
                                            <p:cond delay="0"/>
                                          </p:stCondLst>
                                        </p:cTn>
                                        <p:tgtEl>
                                          <p:spTgt spid="32"/>
                                        </p:tgtEl>
                                        <p:attrNameLst>
                                          <p:attrName>style.visibility</p:attrName>
                                        </p:attrNameLst>
                                      </p:cBhvr>
                                      <p:to>
                                        <p:strVal val="visible"/>
                                      </p:to>
                                    </p:set>
                                    <p:animEffect transition="in" filter="wipe(left)">
                                      <p:cBhvr>
                                        <p:cTn id="168" dur="250"/>
                                        <p:tgtEl>
                                          <p:spTgt spid="32"/>
                                        </p:tgtEl>
                                      </p:cBhvr>
                                    </p:animEffect>
                                  </p:childTnLst>
                                </p:cTn>
                              </p:par>
                            </p:childTnLst>
                          </p:cTn>
                        </p:par>
                        <p:par>
                          <p:cTn id="169" fill="hold">
                            <p:stCondLst>
                              <p:cond delay="2750"/>
                            </p:stCondLst>
                            <p:childTnLst>
                              <p:par>
                                <p:cTn id="170" presetID="22" presetClass="entr" presetSubtype="2" fill="hold" nodeType="afterEffect">
                                  <p:stCondLst>
                                    <p:cond delay="0"/>
                                  </p:stCondLst>
                                  <p:childTnLst>
                                    <p:set>
                                      <p:cBhvr>
                                        <p:cTn id="171" dur="1" fill="hold">
                                          <p:stCondLst>
                                            <p:cond delay="0"/>
                                          </p:stCondLst>
                                        </p:cTn>
                                        <p:tgtEl>
                                          <p:spTgt spid="33"/>
                                        </p:tgtEl>
                                        <p:attrNameLst>
                                          <p:attrName>style.visibility</p:attrName>
                                        </p:attrNameLst>
                                      </p:cBhvr>
                                      <p:to>
                                        <p:strVal val="visible"/>
                                      </p:to>
                                    </p:set>
                                    <p:animEffect transition="in" filter="wipe(right)">
                                      <p:cBhvr>
                                        <p:cTn id="172" dur="750"/>
                                        <p:tgtEl>
                                          <p:spTgt spid="33"/>
                                        </p:tgtEl>
                                      </p:cBhvr>
                                    </p:animEffect>
                                  </p:childTnLst>
                                </p:cTn>
                              </p:par>
                            </p:childTnLst>
                          </p:cTn>
                        </p:par>
                        <p:par>
                          <p:cTn id="173" fill="hold">
                            <p:stCondLst>
                              <p:cond delay="3500"/>
                            </p:stCondLst>
                            <p:childTnLst>
                              <p:par>
                                <p:cTn id="174" presetID="22" presetClass="entr" presetSubtype="1" fill="hold" nodeType="afterEffect">
                                  <p:stCondLst>
                                    <p:cond delay="0"/>
                                  </p:stCondLst>
                                  <p:childTnLst>
                                    <p:set>
                                      <p:cBhvr>
                                        <p:cTn id="175" dur="1" fill="hold">
                                          <p:stCondLst>
                                            <p:cond delay="0"/>
                                          </p:stCondLst>
                                        </p:cTn>
                                        <p:tgtEl>
                                          <p:spTgt spid="35"/>
                                        </p:tgtEl>
                                        <p:attrNameLst>
                                          <p:attrName>style.visibility</p:attrName>
                                        </p:attrNameLst>
                                      </p:cBhvr>
                                      <p:to>
                                        <p:strVal val="visible"/>
                                      </p:to>
                                    </p:set>
                                    <p:animEffect transition="in" filter="wipe(up)">
                                      <p:cBhvr>
                                        <p:cTn id="176" dur="250"/>
                                        <p:tgtEl>
                                          <p:spTgt spid="35"/>
                                        </p:tgtEl>
                                      </p:cBhvr>
                                    </p:animEffect>
                                  </p:childTnLst>
                                </p:cTn>
                              </p:par>
                            </p:childTnLst>
                          </p:cTn>
                        </p:par>
                        <p:par>
                          <p:cTn id="177" fill="hold">
                            <p:stCondLst>
                              <p:cond delay="3750"/>
                            </p:stCondLst>
                            <p:childTnLst>
                              <p:par>
                                <p:cTn id="178" presetID="22" presetClass="entr" presetSubtype="8" fill="hold" nodeType="afterEffect">
                                  <p:stCondLst>
                                    <p:cond delay="0"/>
                                  </p:stCondLst>
                                  <p:childTnLst>
                                    <p:set>
                                      <p:cBhvr>
                                        <p:cTn id="179" dur="1" fill="hold">
                                          <p:stCondLst>
                                            <p:cond delay="0"/>
                                          </p:stCondLst>
                                        </p:cTn>
                                        <p:tgtEl>
                                          <p:spTgt spid="34"/>
                                        </p:tgtEl>
                                        <p:attrNameLst>
                                          <p:attrName>style.visibility</p:attrName>
                                        </p:attrNameLst>
                                      </p:cBhvr>
                                      <p:to>
                                        <p:strVal val="visible"/>
                                      </p:to>
                                    </p:set>
                                    <p:animEffect transition="in" filter="wipe(left)">
                                      <p:cBhvr>
                                        <p:cTn id="180" dur="25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6" grpId="0" animBg="1"/>
      <p:bldP spid="1036"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lstStyle/>
          <a:p>
            <a:r>
              <a:rPr lang="en-US" spc="-100">
                <a:solidFill>
                  <a:srgbClr val="0078D7"/>
                </a:solidFill>
              </a:rPr>
              <a:t>What technologies do I need to support DevOps?</a:t>
            </a:r>
          </a:p>
        </p:txBody>
      </p:sp>
      <p:sp>
        <p:nvSpPr>
          <p:cNvPr id="35" name="Text Placeholder 5">
            <a:extLst>
              <a:ext uri="{FF2B5EF4-FFF2-40B4-BE49-F238E27FC236}">
                <a16:creationId xmlns:a16="http://schemas.microsoft.com/office/drawing/2014/main" id="{11721A64-EB58-4A51-A01B-9C5254D63741}"/>
              </a:ext>
            </a:extLst>
          </p:cNvPr>
          <p:cNvSpPr txBox="1">
            <a:spLocks/>
          </p:cNvSpPr>
          <p:nvPr/>
        </p:nvSpPr>
        <p:spPr>
          <a:xfrm>
            <a:off x="435796" y="3283975"/>
            <a:ext cx="3702795" cy="2653924"/>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600" b="0">
                <a:solidFill>
                  <a:srgbClr val="0078D7"/>
                </a:solidFill>
                <a:latin typeface="+mj-lt"/>
              </a:rPr>
              <a:t>Continuous Integration (CI)</a:t>
            </a:r>
          </a:p>
          <a:p>
            <a:pPr algn="ctr" defTabSz="932563">
              <a:defRPr/>
            </a:pPr>
            <a:endParaRPr lang="en-US" sz="1600">
              <a:solidFill>
                <a:srgbClr val="0078D7"/>
              </a:solidFill>
              <a:latin typeface="Segoe UI"/>
            </a:endParaRPr>
          </a:p>
          <a:p>
            <a:pPr marL="285695" indent="-285695">
              <a:buFont typeface="Arial" panose="020B0604020202020204" pitchFamily="34" charset="0"/>
              <a:buChar char="•"/>
              <a:defRPr/>
            </a:pPr>
            <a:r>
              <a:rPr lang="en-US" sz="1600" b="0">
                <a:solidFill>
                  <a:srgbClr val="000000"/>
                </a:solidFill>
              </a:rPr>
              <a:t>Improve software development quality and speed.</a:t>
            </a:r>
          </a:p>
          <a:p>
            <a:pPr marL="285695" indent="-285695">
              <a:buFont typeface="Arial" panose="020B0604020202020204" pitchFamily="34" charset="0"/>
              <a:buChar char="•"/>
              <a:defRPr/>
            </a:pPr>
            <a:r>
              <a:rPr lang="en-US" sz="1600" b="0">
                <a:solidFill>
                  <a:srgbClr val="000000"/>
                </a:solidFill>
              </a:rPr>
              <a:t>When you use Azure Pipelines or Jenkins to build apps in the cloud and deploy to Azure, each time you commit code, it’s automatically built and tested and bugs are detected faster.</a:t>
            </a:r>
            <a:endParaRPr lang="en-US" sz="1600" b="0">
              <a:solidFill>
                <a:srgbClr val="000000"/>
              </a:solidFill>
              <a:latin typeface="Segoe UI"/>
            </a:endParaRPr>
          </a:p>
        </p:txBody>
      </p:sp>
      <p:sp>
        <p:nvSpPr>
          <p:cNvPr id="36" name="Text Placeholder 6">
            <a:extLst>
              <a:ext uri="{FF2B5EF4-FFF2-40B4-BE49-F238E27FC236}">
                <a16:creationId xmlns:a16="http://schemas.microsoft.com/office/drawing/2014/main" id="{F1C35E32-940D-40CE-8C2E-BBC71307A151}"/>
              </a:ext>
            </a:extLst>
          </p:cNvPr>
          <p:cNvSpPr txBox="1">
            <a:spLocks/>
          </p:cNvSpPr>
          <p:nvPr/>
        </p:nvSpPr>
        <p:spPr>
          <a:xfrm>
            <a:off x="4367473" y="3283975"/>
            <a:ext cx="3695176" cy="3776719"/>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600" b="0">
                <a:solidFill>
                  <a:srgbClr val="0078D7"/>
                </a:solidFill>
                <a:latin typeface="+mj-lt"/>
              </a:rPr>
              <a:t>Continuous Deployment (CD)</a:t>
            </a:r>
          </a:p>
          <a:p>
            <a:pPr algn="ctr" defTabSz="932563">
              <a:defRPr/>
            </a:pPr>
            <a:endParaRPr lang="en-US" sz="1399">
              <a:solidFill>
                <a:srgbClr val="0078D7"/>
              </a:solidFill>
              <a:latin typeface="Segoe UI"/>
            </a:endParaRPr>
          </a:p>
          <a:p>
            <a:pPr marL="285695" indent="-285695">
              <a:buFont typeface="Arial" panose="020B0604020202020204" pitchFamily="34" charset="0"/>
              <a:buChar char="•"/>
              <a:defRPr/>
            </a:pPr>
            <a:r>
              <a:rPr lang="en-US" sz="1600" b="0">
                <a:solidFill>
                  <a:srgbClr val="000000"/>
                </a:solidFill>
              </a:rPr>
              <a:t>By combining continuous integration and infrastructure as code (</a:t>
            </a:r>
            <a:r>
              <a:rPr lang="en-US" sz="1600" b="0" err="1">
                <a:solidFill>
                  <a:srgbClr val="000000"/>
                </a:solidFill>
              </a:rPr>
              <a:t>IaC</a:t>
            </a:r>
            <a:r>
              <a:rPr lang="en-US" sz="1600" b="0">
                <a:solidFill>
                  <a:srgbClr val="000000"/>
                </a:solidFill>
              </a:rPr>
              <a:t>), you’ll achieve identical deployments and the confidence to deploy to production at any time.</a:t>
            </a:r>
          </a:p>
          <a:p>
            <a:pPr marL="285695" indent="-285695">
              <a:buFont typeface="Arial" panose="020B0604020202020204" pitchFamily="34" charset="0"/>
              <a:buChar char="•"/>
              <a:defRPr/>
            </a:pPr>
            <a:r>
              <a:rPr lang="en-US" sz="1600" b="0">
                <a:solidFill>
                  <a:srgbClr val="000000"/>
                </a:solidFill>
              </a:rPr>
              <a:t>With continuous deployment, you can automate the entire process from code commit to production if your CI/CD tests are successful.</a:t>
            </a:r>
          </a:p>
        </p:txBody>
      </p:sp>
      <p:sp>
        <p:nvSpPr>
          <p:cNvPr id="37" name="Text Placeholder 7">
            <a:extLst>
              <a:ext uri="{FF2B5EF4-FFF2-40B4-BE49-F238E27FC236}">
                <a16:creationId xmlns:a16="http://schemas.microsoft.com/office/drawing/2014/main" id="{29EC3879-3609-4EAE-B6CC-7B2845183069}"/>
              </a:ext>
            </a:extLst>
          </p:cNvPr>
          <p:cNvSpPr txBox="1">
            <a:spLocks/>
          </p:cNvSpPr>
          <p:nvPr/>
        </p:nvSpPr>
        <p:spPr>
          <a:xfrm>
            <a:off x="8287377" y="3283975"/>
            <a:ext cx="3702795" cy="29468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600" b="0">
                <a:solidFill>
                  <a:srgbClr val="0078D7"/>
                </a:solidFill>
                <a:latin typeface="+mj-lt"/>
              </a:rPr>
              <a:t>Continuous Learning &amp; Monitoring</a:t>
            </a:r>
          </a:p>
          <a:p>
            <a:pPr algn="ctr" defTabSz="932563">
              <a:defRPr/>
            </a:pPr>
            <a:endParaRPr lang="en-US" sz="1399">
              <a:solidFill>
                <a:srgbClr val="0078D7"/>
              </a:solidFill>
              <a:latin typeface="Segoe UI"/>
            </a:endParaRPr>
          </a:p>
          <a:p>
            <a:pPr marL="285695" indent="-285695">
              <a:buFont typeface="Arial" panose="020B0604020202020204" pitchFamily="34" charset="0"/>
              <a:buChar char="•"/>
              <a:defRPr/>
            </a:pPr>
            <a:r>
              <a:rPr lang="en-US" sz="1600" b="0">
                <a:solidFill>
                  <a:srgbClr val="000000"/>
                </a:solidFill>
              </a:rPr>
              <a:t>With Azure Application Insights you can identify how your applications are performing and test if the recent deployment made things better or worse.</a:t>
            </a:r>
          </a:p>
          <a:p>
            <a:pPr marL="285695" indent="-285695">
              <a:buFont typeface="Arial" panose="020B0604020202020204" pitchFamily="34" charset="0"/>
              <a:buChar char="•"/>
              <a:defRPr/>
            </a:pPr>
            <a:r>
              <a:rPr lang="en-US" sz="1600" b="0" spc="-40">
                <a:solidFill>
                  <a:srgbClr val="000000"/>
                </a:solidFill>
              </a:rPr>
              <a:t>Using CI/CD practices, paired with monitoring</a:t>
            </a:r>
            <a:r>
              <a:rPr lang="en-US" sz="1600" b="0">
                <a:solidFill>
                  <a:srgbClr val="000000"/>
                </a:solidFill>
              </a:rPr>
              <a:t> </a:t>
            </a:r>
            <a:r>
              <a:rPr lang="en-US" sz="1600" b="0" spc="-30">
                <a:solidFill>
                  <a:srgbClr val="000000"/>
                </a:solidFill>
              </a:rPr>
              <a:t>tools, you’ll be able to safely deliver features</a:t>
            </a:r>
            <a:r>
              <a:rPr lang="en-US" sz="1600" b="0">
                <a:solidFill>
                  <a:srgbClr val="000000"/>
                </a:solidFill>
              </a:rPr>
              <a:t> to your customers as soon as they’re ready.</a:t>
            </a:r>
            <a:endParaRPr lang="en-US" sz="1600" b="0">
              <a:solidFill>
                <a:srgbClr val="000000"/>
              </a:solidFill>
              <a:latin typeface="Segoe UI"/>
            </a:endParaRPr>
          </a:p>
        </p:txBody>
      </p:sp>
      <p:cxnSp>
        <p:nvCxnSpPr>
          <p:cNvPr id="38" name="Straight Connector 37">
            <a:extLst>
              <a:ext uri="{FF2B5EF4-FFF2-40B4-BE49-F238E27FC236}">
                <a16:creationId xmlns:a16="http://schemas.microsoft.com/office/drawing/2014/main" id="{4C140035-1896-4524-A80C-179F5BF53BF8}"/>
              </a:ext>
              <a:ext uri="{C183D7F6-B498-43B3-948B-1728B52AA6E4}">
                <adec:decorative xmlns:adec="http://schemas.microsoft.com/office/drawing/2017/decorative" val="1"/>
              </a:ext>
            </a:extLst>
          </p:cNvPr>
          <p:cNvCxnSpPr>
            <a:cxnSpLocks/>
          </p:cNvCxnSpPr>
          <p:nvPr/>
        </p:nvCxnSpPr>
        <p:spPr>
          <a:xfrm flipV="1">
            <a:off x="515796" y="3677014"/>
            <a:ext cx="3542798" cy="0"/>
          </a:xfrm>
          <a:prstGeom prst="line">
            <a:avLst/>
          </a:prstGeom>
          <a:noFill/>
          <a:ln w="12700" cap="flat" cmpd="sng" algn="ctr">
            <a:solidFill>
              <a:srgbClr val="4DB0FF"/>
            </a:solidFill>
            <a:prstDash val="solid"/>
            <a:miter lim="800000"/>
          </a:ln>
          <a:effectLst/>
        </p:spPr>
      </p:cxnSp>
      <p:cxnSp>
        <p:nvCxnSpPr>
          <p:cNvPr id="39" name="Straight Connector 38">
            <a:extLst>
              <a:ext uri="{FF2B5EF4-FFF2-40B4-BE49-F238E27FC236}">
                <a16:creationId xmlns:a16="http://schemas.microsoft.com/office/drawing/2014/main" id="{DB22F80D-2854-47E7-88C4-21E39D7362DD}"/>
              </a:ext>
              <a:ext uri="{C183D7F6-B498-43B3-948B-1728B52AA6E4}">
                <adec:decorative xmlns:adec="http://schemas.microsoft.com/office/drawing/2017/decorative" val="1"/>
              </a:ext>
            </a:extLst>
          </p:cNvPr>
          <p:cNvCxnSpPr>
            <a:cxnSpLocks/>
          </p:cNvCxnSpPr>
          <p:nvPr/>
        </p:nvCxnSpPr>
        <p:spPr>
          <a:xfrm flipV="1">
            <a:off x="4443664" y="3677014"/>
            <a:ext cx="3542798" cy="0"/>
          </a:xfrm>
          <a:prstGeom prst="line">
            <a:avLst/>
          </a:prstGeom>
          <a:noFill/>
          <a:ln w="12700" cap="flat" cmpd="sng" algn="ctr">
            <a:solidFill>
              <a:srgbClr val="4DB0FF"/>
            </a:solidFill>
            <a:prstDash val="solid"/>
            <a:miter lim="800000"/>
          </a:ln>
          <a:effectLst/>
        </p:spPr>
      </p:cxnSp>
      <p:cxnSp>
        <p:nvCxnSpPr>
          <p:cNvPr id="40" name="Straight Connector 39">
            <a:extLst>
              <a:ext uri="{FF2B5EF4-FFF2-40B4-BE49-F238E27FC236}">
                <a16:creationId xmlns:a16="http://schemas.microsoft.com/office/drawing/2014/main" id="{C2E6A6CA-F0B5-4311-8F06-EAC2AA557A85}"/>
              </a:ext>
              <a:ext uri="{C183D7F6-B498-43B3-948B-1728B52AA6E4}">
                <adec:decorative xmlns:adec="http://schemas.microsoft.com/office/drawing/2017/decorative" val="1"/>
              </a:ext>
            </a:extLst>
          </p:cNvPr>
          <p:cNvCxnSpPr>
            <a:cxnSpLocks/>
          </p:cNvCxnSpPr>
          <p:nvPr/>
        </p:nvCxnSpPr>
        <p:spPr>
          <a:xfrm>
            <a:off x="8379823" y="3677014"/>
            <a:ext cx="3517903" cy="0"/>
          </a:xfrm>
          <a:prstGeom prst="line">
            <a:avLst/>
          </a:prstGeom>
          <a:noFill/>
          <a:ln w="12700" cap="flat" cmpd="sng" algn="ctr">
            <a:solidFill>
              <a:srgbClr val="4DB0FF"/>
            </a:solidFill>
            <a:prstDash val="solid"/>
            <a:miter lim="800000"/>
          </a:ln>
          <a:effectLst/>
        </p:spPr>
      </p:cxnSp>
      <p:grpSp>
        <p:nvGrpSpPr>
          <p:cNvPr id="41" name="Group 40">
            <a:extLst>
              <a:ext uri="{FF2B5EF4-FFF2-40B4-BE49-F238E27FC236}">
                <a16:creationId xmlns:a16="http://schemas.microsoft.com/office/drawing/2014/main" id="{87714D26-1F3E-4635-B8BE-8ECD796C0AD1}"/>
              </a:ext>
              <a:ext uri="{C183D7F6-B498-43B3-948B-1728B52AA6E4}">
                <adec:decorative xmlns:adec="http://schemas.microsoft.com/office/drawing/2017/decorative" val="1"/>
              </a:ext>
            </a:extLst>
          </p:cNvPr>
          <p:cNvGrpSpPr/>
          <p:nvPr/>
        </p:nvGrpSpPr>
        <p:grpSpPr>
          <a:xfrm>
            <a:off x="1906938" y="2516057"/>
            <a:ext cx="760510" cy="618243"/>
            <a:chOff x="1228673" y="2642918"/>
            <a:chExt cx="985201" cy="800902"/>
          </a:xfrm>
          <a:solidFill>
            <a:schemeClr val="bg1"/>
          </a:solidFill>
        </p:grpSpPr>
        <p:sp>
          <p:nvSpPr>
            <p:cNvPr id="42" name="browser_3">
              <a:extLst>
                <a:ext uri="{FF2B5EF4-FFF2-40B4-BE49-F238E27FC236}">
                  <a16:creationId xmlns:a16="http://schemas.microsoft.com/office/drawing/2014/main" id="{4B6189EB-2AFA-4DA3-8A06-0569D7C94730}"/>
                </a:ext>
              </a:extLst>
            </p:cNvPr>
            <p:cNvSpPr>
              <a:spLocks noChangeAspect="1" noEditPoints="1"/>
            </p:cNvSpPr>
            <p:nvPr/>
          </p:nvSpPr>
          <p:spPr bwMode="auto">
            <a:xfrm>
              <a:off x="1228673" y="2642918"/>
              <a:ext cx="770794" cy="733164"/>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grp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defRPr/>
              </a:pPr>
              <a:endParaRPr lang="en-US" sz="900">
                <a:gradFill>
                  <a:gsLst>
                    <a:gs pos="0">
                      <a:srgbClr val="505050"/>
                    </a:gs>
                    <a:gs pos="100000">
                      <a:srgbClr val="505050"/>
                    </a:gs>
                  </a:gsLst>
                  <a:lin ang="5400000" scaled="1"/>
                </a:gradFill>
                <a:latin typeface="Segoe UI Semilight"/>
              </a:endParaRPr>
            </a:p>
          </p:txBody>
        </p:sp>
        <p:sp>
          <p:nvSpPr>
            <p:cNvPr id="43" name="History_E81C">
              <a:extLst>
                <a:ext uri="{FF2B5EF4-FFF2-40B4-BE49-F238E27FC236}">
                  <a16:creationId xmlns:a16="http://schemas.microsoft.com/office/drawing/2014/main" id="{23A1257E-CC1F-4630-B834-C2665E15E1F1}"/>
                </a:ext>
              </a:extLst>
            </p:cNvPr>
            <p:cNvSpPr>
              <a:spLocks noChangeAspect="1" noEditPoints="1"/>
            </p:cNvSpPr>
            <p:nvPr/>
          </p:nvSpPr>
          <p:spPr bwMode="auto">
            <a:xfrm>
              <a:off x="1820682" y="3050532"/>
              <a:ext cx="393192" cy="393288"/>
            </a:xfrm>
            <a:custGeom>
              <a:avLst/>
              <a:gdLst>
                <a:gd name="T0" fmla="*/ 2500 w 3750"/>
                <a:gd name="T1" fmla="*/ 2750 h 3750"/>
                <a:gd name="T2" fmla="*/ 1750 w 3750"/>
                <a:gd name="T3" fmla="*/ 2000 h 3750"/>
                <a:gd name="T4" fmla="*/ 1750 w 3750"/>
                <a:gd name="T5" fmla="*/ 875 h 3750"/>
                <a:gd name="T6" fmla="*/ 0 w 3750"/>
                <a:gd name="T7" fmla="*/ 375 h 3750"/>
                <a:gd name="T8" fmla="*/ 0 w 3750"/>
                <a:gd name="T9" fmla="*/ 1250 h 3750"/>
                <a:gd name="T10" fmla="*/ 875 w 3750"/>
                <a:gd name="T11" fmla="*/ 1250 h 3750"/>
                <a:gd name="T12" fmla="*/ 69 w 3750"/>
                <a:gd name="T13" fmla="*/ 2375 h 3750"/>
                <a:gd name="T14" fmla="*/ 1875 w 3750"/>
                <a:gd name="T15" fmla="*/ 3750 h 3750"/>
                <a:gd name="T16" fmla="*/ 3750 w 3750"/>
                <a:gd name="T17" fmla="*/ 1875 h 3750"/>
                <a:gd name="T18" fmla="*/ 1875 w 3750"/>
                <a:gd name="T19" fmla="*/ 0 h 3750"/>
                <a:gd name="T20" fmla="*/ 109 w 3750"/>
                <a:gd name="T21" fmla="*/ 1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0" y="375"/>
                  </a:moveTo>
                  <a:cubicBezTo>
                    <a:pt x="0" y="1250"/>
                    <a:pt x="0" y="1250"/>
                    <a:pt x="0" y="1250"/>
                  </a:cubicBezTo>
                  <a:cubicBezTo>
                    <a:pt x="875" y="1250"/>
                    <a:pt x="875" y="1250"/>
                    <a:pt x="875" y="1250"/>
                  </a:cubicBezTo>
                  <a:moveTo>
                    <a:pt x="69" y="2375"/>
                  </a:moveTo>
                  <a:cubicBezTo>
                    <a:pt x="289" y="3167"/>
                    <a:pt x="1013" y="3750"/>
                    <a:pt x="1875" y="3750"/>
                  </a:cubicBezTo>
                  <a:cubicBezTo>
                    <a:pt x="2911" y="3750"/>
                    <a:pt x="3750" y="2911"/>
                    <a:pt x="3750" y="1875"/>
                  </a:cubicBezTo>
                  <a:cubicBezTo>
                    <a:pt x="3750" y="839"/>
                    <a:pt x="2911" y="0"/>
                    <a:pt x="1875" y="0"/>
                  </a:cubicBezTo>
                  <a:cubicBezTo>
                    <a:pt x="1059" y="0"/>
                    <a:pt x="367" y="522"/>
                    <a:pt x="109" y="1250"/>
                  </a:cubicBezTo>
                </a:path>
              </a:pathLst>
            </a:custGeom>
            <a:grpFill/>
            <a:ln w="190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defRPr/>
              </a:pPr>
              <a:endParaRPr lang="en-US" sz="900">
                <a:gradFill>
                  <a:gsLst>
                    <a:gs pos="0">
                      <a:srgbClr val="505050"/>
                    </a:gs>
                    <a:gs pos="100000">
                      <a:srgbClr val="505050"/>
                    </a:gs>
                  </a:gsLst>
                  <a:lin ang="5400000" scaled="1"/>
                </a:gradFill>
                <a:latin typeface="Segoe UI Semilight"/>
              </a:endParaRPr>
            </a:p>
          </p:txBody>
        </p:sp>
      </p:grpSp>
      <p:sp>
        <p:nvSpPr>
          <p:cNvPr id="45" name="binary">
            <a:extLst>
              <a:ext uri="{FF2B5EF4-FFF2-40B4-BE49-F238E27FC236}">
                <a16:creationId xmlns:a16="http://schemas.microsoft.com/office/drawing/2014/main" id="{8BD7D297-992D-4C6C-8658-96ECC54DDF71}"/>
              </a:ext>
              <a:ext uri="{C183D7F6-B498-43B3-948B-1728B52AA6E4}">
                <adec:decorative xmlns:adec="http://schemas.microsoft.com/office/drawing/2017/decorative" val="1"/>
              </a:ext>
            </a:extLst>
          </p:cNvPr>
          <p:cNvSpPr>
            <a:spLocks noChangeAspect="1" noEditPoints="1"/>
          </p:cNvSpPr>
          <p:nvPr/>
        </p:nvSpPr>
        <p:spPr bwMode="auto">
          <a:xfrm>
            <a:off x="5937426" y="2538290"/>
            <a:ext cx="612517" cy="528907"/>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a:defRPr/>
            </a:pPr>
            <a:endParaRPr lang="en-US" sz="1764">
              <a:solidFill>
                <a:srgbClr val="353535"/>
              </a:solidFill>
              <a:latin typeface="Segoe UI Semilight"/>
            </a:endParaRPr>
          </a:p>
        </p:txBody>
      </p:sp>
      <p:grpSp>
        <p:nvGrpSpPr>
          <p:cNvPr id="49" name="Group 48">
            <a:extLst>
              <a:ext uri="{FF2B5EF4-FFF2-40B4-BE49-F238E27FC236}">
                <a16:creationId xmlns:a16="http://schemas.microsoft.com/office/drawing/2014/main" id="{BE7F2A29-F1A4-42E3-B154-B75E25D152BF}"/>
              </a:ext>
              <a:ext uri="{C183D7F6-B498-43B3-948B-1728B52AA6E4}">
                <adec:decorative xmlns:adec="http://schemas.microsoft.com/office/drawing/2017/decorative" val="1"/>
              </a:ext>
            </a:extLst>
          </p:cNvPr>
          <p:cNvGrpSpPr/>
          <p:nvPr/>
        </p:nvGrpSpPr>
        <p:grpSpPr>
          <a:xfrm>
            <a:off x="9727698" y="2559257"/>
            <a:ext cx="805379" cy="513104"/>
            <a:chOff x="7086600" y="2836618"/>
            <a:chExt cx="1066800" cy="679655"/>
          </a:xfrm>
        </p:grpSpPr>
        <p:sp>
          <p:nvSpPr>
            <p:cNvPr id="50" name="cloud">
              <a:extLst>
                <a:ext uri="{FF2B5EF4-FFF2-40B4-BE49-F238E27FC236}">
                  <a16:creationId xmlns:a16="http://schemas.microsoft.com/office/drawing/2014/main" id="{14FFA684-B748-4514-AB7E-CB931D2948F6}"/>
                </a:ext>
              </a:extLst>
            </p:cNvPr>
            <p:cNvSpPr>
              <a:spLocks noChangeAspect="1"/>
            </p:cNvSpPr>
            <p:nvPr/>
          </p:nvSpPr>
          <p:spPr bwMode="auto">
            <a:xfrm>
              <a:off x="7086600" y="2836618"/>
              <a:ext cx="1066800" cy="6796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a:defRPr/>
              </a:pPr>
              <a:endParaRPr lang="en-US" sz="900">
                <a:gradFill>
                  <a:gsLst>
                    <a:gs pos="0">
                      <a:srgbClr val="505050"/>
                    </a:gs>
                    <a:gs pos="100000">
                      <a:srgbClr val="505050"/>
                    </a:gs>
                  </a:gsLst>
                </a:gradFill>
                <a:latin typeface="Segoe UI Semilight"/>
              </a:endParaRPr>
            </a:p>
          </p:txBody>
        </p:sp>
        <p:sp>
          <p:nvSpPr>
            <p:cNvPr id="51" name="Diagnostic_E9D9">
              <a:extLst>
                <a:ext uri="{FF2B5EF4-FFF2-40B4-BE49-F238E27FC236}">
                  <a16:creationId xmlns:a16="http://schemas.microsoft.com/office/drawing/2014/main" id="{924A3957-513E-477A-B472-E4B663532061}"/>
                </a:ext>
              </a:extLst>
            </p:cNvPr>
            <p:cNvSpPr>
              <a:spLocks noChangeAspect="1" noEditPoints="1"/>
            </p:cNvSpPr>
            <p:nvPr/>
          </p:nvSpPr>
          <p:spPr bwMode="auto">
            <a:xfrm>
              <a:off x="7452793" y="3055842"/>
              <a:ext cx="334414" cy="334578"/>
            </a:xfrm>
            <a:custGeom>
              <a:avLst/>
              <a:gdLst>
                <a:gd name="T0" fmla="*/ 0 w 3250"/>
                <a:gd name="T1" fmla="*/ 3250 h 3250"/>
                <a:gd name="T2" fmla="*/ 0 w 3250"/>
                <a:gd name="T3" fmla="*/ 0 h 3250"/>
                <a:gd name="T4" fmla="*/ 3250 w 3250"/>
                <a:gd name="T5" fmla="*/ 0 h 3250"/>
                <a:gd name="T6" fmla="*/ 3250 w 3250"/>
                <a:gd name="T7" fmla="*/ 3250 h 3250"/>
                <a:gd name="T8" fmla="*/ 0 w 3250"/>
                <a:gd name="T9" fmla="*/ 3250 h 3250"/>
                <a:gd name="T10" fmla="*/ 3250 w 3250"/>
                <a:gd name="T11" fmla="*/ 2000 h 3250"/>
                <a:gd name="T12" fmla="*/ 2553 w 3250"/>
                <a:gd name="T13" fmla="*/ 2000 h 3250"/>
                <a:gd name="T14" fmla="*/ 2535 w 3250"/>
                <a:gd name="T15" fmla="*/ 1985 h 3250"/>
                <a:gd name="T16" fmla="*/ 2379 w 3250"/>
                <a:gd name="T17" fmla="*/ 1362 h 3250"/>
                <a:gd name="T18" fmla="*/ 2360 w 3250"/>
                <a:gd name="T19" fmla="*/ 1347 h 3250"/>
                <a:gd name="T20" fmla="*/ 1987 w 3250"/>
                <a:gd name="T21" fmla="*/ 1347 h 3250"/>
                <a:gd name="T22" fmla="*/ 1969 w 3250"/>
                <a:gd name="T23" fmla="*/ 1332 h 3250"/>
                <a:gd name="T24" fmla="*/ 1768 w 3250"/>
                <a:gd name="T25" fmla="*/ 512 h 3250"/>
                <a:gd name="T26" fmla="*/ 1731 w 3250"/>
                <a:gd name="T27" fmla="*/ 512 h 3250"/>
                <a:gd name="T28" fmla="*/ 1227 w 3250"/>
                <a:gd name="T29" fmla="*/ 2467 h 3250"/>
                <a:gd name="T30" fmla="*/ 1195 w 3250"/>
                <a:gd name="T31" fmla="*/ 2476 h 3250"/>
                <a:gd name="T32" fmla="*/ 732 w 3250"/>
                <a:gd name="T33" fmla="*/ 2014 h 3250"/>
                <a:gd name="T34" fmla="*/ 705 w 3250"/>
                <a:gd name="T35" fmla="*/ 2014 h 3250"/>
                <a:gd name="T36" fmla="*/ 474 w 3250"/>
                <a:gd name="T37" fmla="*/ 2244 h 3250"/>
                <a:gd name="T38" fmla="*/ 461 w 3250"/>
                <a:gd name="T39" fmla="*/ 2250 h 3250"/>
                <a:gd name="T40" fmla="*/ 0 w 3250"/>
                <a:gd name="T41" fmla="*/ 225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0" h="3250">
                  <a:moveTo>
                    <a:pt x="0" y="3250"/>
                  </a:moveTo>
                  <a:cubicBezTo>
                    <a:pt x="0" y="0"/>
                    <a:pt x="0" y="0"/>
                    <a:pt x="0" y="0"/>
                  </a:cubicBezTo>
                  <a:cubicBezTo>
                    <a:pt x="3250" y="0"/>
                    <a:pt x="3250" y="0"/>
                    <a:pt x="3250" y="0"/>
                  </a:cubicBezTo>
                  <a:cubicBezTo>
                    <a:pt x="3250" y="3250"/>
                    <a:pt x="3250" y="3250"/>
                    <a:pt x="3250" y="3250"/>
                  </a:cubicBezTo>
                  <a:lnTo>
                    <a:pt x="0" y="3250"/>
                  </a:lnTo>
                  <a:close/>
                  <a:moveTo>
                    <a:pt x="3250" y="2000"/>
                  </a:moveTo>
                  <a:cubicBezTo>
                    <a:pt x="2553" y="2000"/>
                    <a:pt x="2553" y="2000"/>
                    <a:pt x="2553" y="2000"/>
                  </a:cubicBezTo>
                  <a:cubicBezTo>
                    <a:pt x="2544" y="2000"/>
                    <a:pt x="2537" y="1994"/>
                    <a:pt x="2535" y="1985"/>
                  </a:cubicBezTo>
                  <a:cubicBezTo>
                    <a:pt x="2379" y="1362"/>
                    <a:pt x="2379" y="1362"/>
                    <a:pt x="2379" y="1362"/>
                  </a:cubicBezTo>
                  <a:cubicBezTo>
                    <a:pt x="2377" y="1353"/>
                    <a:pt x="2369" y="1347"/>
                    <a:pt x="2360" y="1347"/>
                  </a:cubicBezTo>
                  <a:cubicBezTo>
                    <a:pt x="1987" y="1347"/>
                    <a:pt x="1987" y="1347"/>
                    <a:pt x="1987" y="1347"/>
                  </a:cubicBezTo>
                  <a:cubicBezTo>
                    <a:pt x="1978" y="1347"/>
                    <a:pt x="1971" y="1341"/>
                    <a:pt x="1969" y="1332"/>
                  </a:cubicBezTo>
                  <a:cubicBezTo>
                    <a:pt x="1768" y="512"/>
                    <a:pt x="1768" y="512"/>
                    <a:pt x="1768" y="512"/>
                  </a:cubicBezTo>
                  <a:cubicBezTo>
                    <a:pt x="1764" y="493"/>
                    <a:pt x="1736" y="493"/>
                    <a:pt x="1731" y="512"/>
                  </a:cubicBezTo>
                  <a:cubicBezTo>
                    <a:pt x="1227" y="2467"/>
                    <a:pt x="1227" y="2467"/>
                    <a:pt x="1227" y="2467"/>
                  </a:cubicBezTo>
                  <a:cubicBezTo>
                    <a:pt x="1223" y="2482"/>
                    <a:pt x="1205" y="2487"/>
                    <a:pt x="1195" y="2476"/>
                  </a:cubicBezTo>
                  <a:cubicBezTo>
                    <a:pt x="732" y="2014"/>
                    <a:pt x="732" y="2014"/>
                    <a:pt x="732" y="2014"/>
                  </a:cubicBezTo>
                  <a:cubicBezTo>
                    <a:pt x="725" y="2006"/>
                    <a:pt x="713" y="2006"/>
                    <a:pt x="705" y="2014"/>
                  </a:cubicBezTo>
                  <a:cubicBezTo>
                    <a:pt x="474" y="2244"/>
                    <a:pt x="474" y="2244"/>
                    <a:pt x="474" y="2244"/>
                  </a:cubicBezTo>
                  <a:cubicBezTo>
                    <a:pt x="471" y="2248"/>
                    <a:pt x="466" y="2250"/>
                    <a:pt x="461" y="2250"/>
                  </a:cubicBezTo>
                  <a:cubicBezTo>
                    <a:pt x="0" y="2250"/>
                    <a:pt x="0" y="2250"/>
                    <a:pt x="0" y="225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a:defRPr/>
              </a:pPr>
              <a:endParaRPr lang="en-US" sz="1873">
                <a:solidFill>
                  <a:srgbClr val="353535"/>
                </a:solidFill>
                <a:latin typeface="Segoe UI Semilight"/>
              </a:endParaRPr>
            </a:p>
          </p:txBody>
        </p:sp>
      </p:grpSp>
    </p:spTree>
    <p:extLst>
      <p:ext uri="{BB962C8B-B14F-4D97-AF65-F5344CB8AC3E}">
        <p14:creationId xmlns:p14="http://schemas.microsoft.com/office/powerpoint/2010/main" val="3216022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a:xfrm>
            <a:off x="140061" y="236860"/>
            <a:ext cx="10782459" cy="989769"/>
          </a:xfrm>
        </p:spPr>
        <p:txBody>
          <a:bodyPr/>
          <a:lstStyle/>
          <a:p>
            <a:r>
              <a:rPr lang="en-US">
                <a:solidFill>
                  <a:schemeClr val="accent3"/>
                </a:solidFill>
              </a:rPr>
              <a:t>Containerized workflow pipeline  </a:t>
            </a:r>
            <a:endParaRPr lang="en-US"/>
          </a:p>
        </p:txBody>
      </p:sp>
      <p:sp>
        <p:nvSpPr>
          <p:cNvPr id="128" name="Rectangle 127"/>
          <p:cNvSpPr/>
          <p:nvPr/>
        </p:nvSpPr>
        <p:spPr>
          <a:xfrm>
            <a:off x="9540617" y="97772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29" name="Rectangle 128"/>
          <p:cNvSpPr/>
          <p:nvPr/>
        </p:nvSpPr>
        <p:spPr>
          <a:xfrm>
            <a:off x="9540617" y="161086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0" name="Rectangle 129"/>
          <p:cNvSpPr/>
          <p:nvPr/>
        </p:nvSpPr>
        <p:spPr>
          <a:xfrm>
            <a:off x="9565999" y="2244009"/>
            <a:ext cx="2538168"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1" name="Rectangle 130"/>
          <p:cNvSpPr/>
          <p:nvPr/>
        </p:nvSpPr>
        <p:spPr>
          <a:xfrm>
            <a:off x="9540617" y="287714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2" name="Rectangle 131"/>
          <p:cNvSpPr/>
          <p:nvPr/>
        </p:nvSpPr>
        <p:spPr>
          <a:xfrm>
            <a:off x="9540617" y="351028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3" name="Rectangle 132"/>
          <p:cNvSpPr/>
          <p:nvPr/>
        </p:nvSpPr>
        <p:spPr>
          <a:xfrm>
            <a:off x="9540617" y="4776567"/>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4" name="Rectangle 133"/>
          <p:cNvSpPr/>
          <p:nvPr/>
        </p:nvSpPr>
        <p:spPr>
          <a:xfrm>
            <a:off x="9540617" y="414342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5" name="Rectangle 134"/>
          <p:cNvSpPr/>
          <p:nvPr/>
        </p:nvSpPr>
        <p:spPr>
          <a:xfrm>
            <a:off x="9540617" y="97772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zure Kubernetes Service</a:t>
            </a:r>
          </a:p>
        </p:txBody>
      </p:sp>
      <p:sp>
        <p:nvSpPr>
          <p:cNvPr id="136" name="Rectangle 135"/>
          <p:cNvSpPr/>
          <p:nvPr/>
        </p:nvSpPr>
        <p:spPr>
          <a:xfrm>
            <a:off x="9540617" y="161086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Service Fabric</a:t>
            </a:r>
          </a:p>
        </p:txBody>
      </p:sp>
      <p:sp>
        <p:nvSpPr>
          <p:cNvPr id="137" name="Rectangle 136"/>
          <p:cNvSpPr/>
          <p:nvPr/>
        </p:nvSpPr>
        <p:spPr>
          <a:xfrm>
            <a:off x="9565999" y="2244009"/>
            <a:ext cx="2538168"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pp Services</a:t>
            </a:r>
          </a:p>
        </p:txBody>
      </p:sp>
      <p:sp>
        <p:nvSpPr>
          <p:cNvPr id="138" name="Rectangle 137"/>
          <p:cNvSpPr/>
          <p:nvPr/>
        </p:nvSpPr>
        <p:spPr>
          <a:xfrm>
            <a:off x="9540617" y="287714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Future Services</a:t>
            </a:r>
          </a:p>
        </p:txBody>
      </p:sp>
      <p:sp>
        <p:nvSpPr>
          <p:cNvPr id="139" name="Rectangle 138"/>
          <p:cNvSpPr/>
          <p:nvPr/>
        </p:nvSpPr>
        <p:spPr>
          <a:xfrm>
            <a:off x="9540617" y="351028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pic>
        <p:nvPicPr>
          <p:cNvPr id="140" name="Picture 139"/>
          <p:cNvPicPr>
            <a:picLocks noChangeAspect="1"/>
          </p:cNvPicPr>
          <p:nvPr/>
        </p:nvPicPr>
        <p:blipFill>
          <a:blip r:embed="rId3"/>
          <a:stretch>
            <a:fillRect/>
          </a:stretch>
        </p:blipFill>
        <p:spPr>
          <a:xfrm>
            <a:off x="9601998" y="1023366"/>
            <a:ext cx="650738" cy="495720"/>
          </a:xfrm>
          <a:prstGeom prst="rect">
            <a:avLst/>
          </a:prstGeom>
        </p:spPr>
      </p:pic>
      <p:pic>
        <p:nvPicPr>
          <p:cNvPr id="141" name="Picture 140"/>
          <p:cNvPicPr>
            <a:picLocks noChangeAspect="1"/>
          </p:cNvPicPr>
          <p:nvPr/>
        </p:nvPicPr>
        <p:blipFill>
          <a:blip r:embed="rId4"/>
          <a:stretch>
            <a:fillRect/>
          </a:stretch>
        </p:blipFill>
        <p:spPr>
          <a:xfrm>
            <a:off x="9679698" y="1673666"/>
            <a:ext cx="495338" cy="495720"/>
          </a:xfrm>
          <a:prstGeom prst="rect">
            <a:avLst/>
          </a:prstGeom>
        </p:spPr>
      </p:pic>
      <p:pic>
        <p:nvPicPr>
          <p:cNvPr id="142" name="Picture 141"/>
          <p:cNvPicPr>
            <a:picLocks noChangeAspect="1"/>
          </p:cNvPicPr>
          <p:nvPr/>
        </p:nvPicPr>
        <p:blipFill>
          <a:blip r:embed="rId5"/>
          <a:stretch>
            <a:fillRect/>
          </a:stretch>
        </p:blipFill>
        <p:spPr>
          <a:xfrm>
            <a:off x="9679699" y="2318658"/>
            <a:ext cx="495337" cy="495720"/>
          </a:xfrm>
          <a:prstGeom prst="rect">
            <a:avLst/>
          </a:prstGeom>
        </p:spPr>
      </p:pic>
      <p:sp>
        <p:nvSpPr>
          <p:cNvPr id="143" name="Right Arrow 5"/>
          <p:cNvSpPr/>
          <p:nvPr/>
        </p:nvSpPr>
        <p:spPr>
          <a:xfrm>
            <a:off x="883597" y="1713540"/>
            <a:ext cx="2675212" cy="944040"/>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pic>
        <p:nvPicPr>
          <p:cNvPr id="144" name="Picture 143"/>
          <p:cNvPicPr>
            <a:picLocks noChangeAspect="1"/>
          </p:cNvPicPr>
          <p:nvPr/>
        </p:nvPicPr>
        <p:blipFill>
          <a:blip r:embed="rId6">
            <a:duotone>
              <a:prstClr val="black"/>
              <a:schemeClr val="tx2">
                <a:tint val="45000"/>
                <a:satMod val="400000"/>
              </a:schemeClr>
            </a:duotone>
          </a:blip>
          <a:stretch>
            <a:fillRect/>
          </a:stretch>
        </p:blipFill>
        <p:spPr>
          <a:xfrm>
            <a:off x="1484104" y="1831154"/>
            <a:ext cx="599890" cy="625597"/>
          </a:xfrm>
          <a:prstGeom prst="rect">
            <a:avLst/>
          </a:prstGeom>
        </p:spPr>
      </p:pic>
      <p:cxnSp>
        <p:nvCxnSpPr>
          <p:cNvPr id="145" name="Straight Arrow Connector 144"/>
          <p:cNvCxnSpPr>
            <a:cxnSpLocks/>
          </p:cNvCxnSpPr>
          <p:nvPr/>
        </p:nvCxnSpPr>
        <p:spPr>
          <a:xfrm>
            <a:off x="4207957" y="2848274"/>
            <a:ext cx="787110" cy="669973"/>
          </a:xfrm>
          <a:prstGeom prst="straightConnector1">
            <a:avLst/>
          </a:prstGeom>
          <a:ln w="76200">
            <a:solidFill>
              <a:srgbClr val="89CBFF"/>
            </a:solidFill>
            <a:headEnd type="triangle" w="med" len="lg"/>
            <a:tailEnd type="triangle" w="med" len="lg"/>
          </a:ln>
        </p:spPr>
        <p:style>
          <a:lnRef idx="1">
            <a:schemeClr val="accent1"/>
          </a:lnRef>
          <a:fillRef idx="0">
            <a:schemeClr val="accent1"/>
          </a:fillRef>
          <a:effectRef idx="0">
            <a:schemeClr val="accent1"/>
          </a:effectRef>
          <a:fontRef idx="minor">
            <a:schemeClr val="tx1"/>
          </a:fontRef>
        </p:style>
      </p:cxnSp>
      <p:grpSp>
        <p:nvGrpSpPr>
          <p:cNvPr id="146" name="Group 145"/>
          <p:cNvGrpSpPr/>
          <p:nvPr/>
        </p:nvGrpSpPr>
        <p:grpSpPr>
          <a:xfrm>
            <a:off x="3682670" y="2575943"/>
            <a:ext cx="532409" cy="311380"/>
            <a:chOff x="4227749" y="3121751"/>
            <a:chExt cx="532409" cy="311380"/>
          </a:xfrm>
        </p:grpSpPr>
        <p:grpSp>
          <p:nvGrpSpPr>
            <p:cNvPr id="147" name="Group 146"/>
            <p:cNvGrpSpPr>
              <a:grpSpLocks noChangeAspect="1"/>
            </p:cNvGrpSpPr>
            <p:nvPr/>
          </p:nvGrpSpPr>
          <p:grpSpPr>
            <a:xfrm>
              <a:off x="4227749" y="3180454"/>
              <a:ext cx="450741" cy="252677"/>
              <a:chOff x="3523102" y="1791568"/>
              <a:chExt cx="6746733" cy="3782104"/>
            </a:xfrm>
            <a:solidFill>
              <a:srgbClr val="002060"/>
            </a:solidFill>
          </p:grpSpPr>
          <p:sp>
            <p:nvSpPr>
              <p:cNvPr id="149" name="Rectangle 148"/>
              <p:cNvSpPr/>
              <p:nvPr/>
            </p:nvSpPr>
            <p:spPr>
              <a:xfrm>
                <a:off x="3757139" y="2148421"/>
                <a:ext cx="6278658" cy="306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65" u="none" strike="noStrike" kern="0" cap="none" spc="0" normalizeH="0" baseline="0" noProof="0">
                  <a:ln>
                    <a:noFill/>
                  </a:ln>
                  <a:solidFill>
                    <a:sysClr val="windowText" lastClr="000000"/>
                  </a:solidFill>
                  <a:effectLst/>
                  <a:uLnTx/>
                  <a:uFillTx/>
                  <a:latin typeface="+mj-lt"/>
                  <a:ea typeface="+mn-ea"/>
                  <a:cs typeface="+mn-cs"/>
                </a:endParaRPr>
              </a:p>
            </p:txBody>
          </p:sp>
          <p:sp>
            <p:nvSpPr>
              <p:cNvPr id="150" name="Freeform 73"/>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65" u="none" strike="noStrike" kern="0" cap="none" spc="0" normalizeH="0" baseline="0" noProof="0">
                  <a:ln>
                    <a:noFill/>
                  </a:ln>
                  <a:solidFill>
                    <a:sysClr val="windowText" lastClr="000000"/>
                  </a:solidFill>
                  <a:effectLst/>
                  <a:uLnTx/>
                  <a:uFillTx/>
                  <a:latin typeface="+mj-lt"/>
                  <a:ea typeface="+mn-ea"/>
                  <a:cs typeface="+mn-cs"/>
                </a:endParaRPr>
              </a:p>
            </p:txBody>
          </p:sp>
          <p:sp>
            <p:nvSpPr>
              <p:cNvPr id="151" name="Freeform 74"/>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65" u="none" strike="noStrike" kern="0" cap="none" spc="0" normalizeH="0" baseline="0" noProof="0">
                  <a:ln>
                    <a:noFill/>
                  </a:ln>
                  <a:solidFill>
                    <a:sysClr val="windowText" lastClr="000000"/>
                  </a:solidFill>
                  <a:effectLst/>
                  <a:uLnTx/>
                  <a:uFillTx/>
                  <a:latin typeface="+mj-lt"/>
                  <a:ea typeface="+mn-ea"/>
                  <a:cs typeface="+mn-cs"/>
                </a:endParaRPr>
              </a:p>
            </p:txBody>
          </p:sp>
        </p:grpSp>
        <p:pic>
          <p:nvPicPr>
            <p:cNvPr id="148" name="Picture 147"/>
            <p:cNvPicPr>
              <a:picLocks noChangeAspect="1"/>
            </p:cNvPicPr>
            <p:nvPr/>
          </p:nvPicPr>
          <p:blipFill>
            <a:blip r:embed="rId7"/>
            <a:stretch>
              <a:fillRect/>
            </a:stretch>
          </p:blipFill>
          <p:spPr>
            <a:xfrm>
              <a:off x="4271287" y="3121751"/>
              <a:ext cx="488871" cy="273622"/>
            </a:xfrm>
            <a:prstGeom prst="rect">
              <a:avLst/>
            </a:prstGeom>
          </p:spPr>
        </p:pic>
      </p:grpSp>
      <p:sp>
        <p:nvSpPr>
          <p:cNvPr id="152" name="Right Arrow 5"/>
          <p:cNvSpPr/>
          <p:nvPr/>
        </p:nvSpPr>
        <p:spPr>
          <a:xfrm>
            <a:off x="3029326" y="1713540"/>
            <a:ext cx="2675212" cy="944040"/>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grpSp>
        <p:nvGrpSpPr>
          <p:cNvPr id="153" name="Group 152"/>
          <p:cNvGrpSpPr/>
          <p:nvPr/>
        </p:nvGrpSpPr>
        <p:grpSpPr>
          <a:xfrm>
            <a:off x="2777875" y="1412218"/>
            <a:ext cx="1483698" cy="1527326"/>
            <a:chOff x="2777875" y="1412218"/>
            <a:chExt cx="1483698" cy="1527326"/>
          </a:xfrm>
        </p:grpSpPr>
        <p:sp>
          <p:nvSpPr>
            <p:cNvPr id="154" name="Rounded Rectangle 12"/>
            <p:cNvSpPr/>
            <p:nvPr/>
          </p:nvSpPr>
          <p:spPr>
            <a:xfrm>
              <a:off x="2777875"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155" name="TextBox 154"/>
            <p:cNvSpPr txBox="1"/>
            <p:nvPr/>
          </p:nvSpPr>
          <p:spPr>
            <a:xfrm>
              <a:off x="2825969" y="1794022"/>
              <a:ext cx="1387510" cy="899200"/>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Build/CI,</a:t>
              </a:r>
            </a:p>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Integrate,</a:t>
              </a:r>
            </a:p>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Test</a:t>
              </a:r>
            </a:p>
          </p:txBody>
        </p:sp>
        <p:sp>
          <p:nvSpPr>
            <p:cNvPr id="156" name="TextBox 155"/>
            <p:cNvSpPr txBox="1"/>
            <p:nvPr/>
          </p:nvSpPr>
          <p:spPr>
            <a:xfrm>
              <a:off x="3081795" y="1412218"/>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grpSp>
      <p:sp>
        <p:nvSpPr>
          <p:cNvPr id="157" name="Right Arrow 5"/>
          <p:cNvSpPr/>
          <p:nvPr/>
        </p:nvSpPr>
        <p:spPr>
          <a:xfrm rot="16200000">
            <a:off x="377902" y="3360505"/>
            <a:ext cx="1914090" cy="944040"/>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pic>
        <p:nvPicPr>
          <p:cNvPr id="158" name="Picture 157"/>
          <p:cNvPicPr>
            <a:picLocks noChangeAspect="1"/>
          </p:cNvPicPr>
          <p:nvPr/>
        </p:nvPicPr>
        <p:blipFill>
          <a:blip r:embed="rId6">
            <a:duotone>
              <a:prstClr val="black"/>
              <a:schemeClr val="tx2">
                <a:tint val="45000"/>
                <a:satMod val="400000"/>
              </a:schemeClr>
            </a:duotone>
          </a:blip>
          <a:stretch>
            <a:fillRect/>
          </a:stretch>
        </p:blipFill>
        <p:spPr>
          <a:xfrm>
            <a:off x="1080222" y="4804975"/>
            <a:ext cx="599890" cy="625597"/>
          </a:xfrm>
          <a:prstGeom prst="rect">
            <a:avLst/>
          </a:prstGeom>
        </p:spPr>
      </p:pic>
      <p:grpSp>
        <p:nvGrpSpPr>
          <p:cNvPr id="159" name="Group 158"/>
          <p:cNvGrpSpPr/>
          <p:nvPr/>
        </p:nvGrpSpPr>
        <p:grpSpPr>
          <a:xfrm>
            <a:off x="252964" y="4780912"/>
            <a:ext cx="2621099" cy="1786754"/>
            <a:chOff x="252964" y="4780912"/>
            <a:chExt cx="2621099" cy="1786754"/>
          </a:xfrm>
        </p:grpSpPr>
        <p:sp>
          <p:nvSpPr>
            <p:cNvPr id="160" name="Rounded Rectangle 11"/>
            <p:cNvSpPr/>
            <p:nvPr/>
          </p:nvSpPr>
          <p:spPr>
            <a:xfrm>
              <a:off x="300269" y="4780912"/>
              <a:ext cx="2573794" cy="178675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grpSp>
          <p:nvGrpSpPr>
            <p:cNvPr id="161" name="Group 160"/>
            <p:cNvGrpSpPr/>
            <p:nvPr/>
          </p:nvGrpSpPr>
          <p:grpSpPr>
            <a:xfrm>
              <a:off x="1756065" y="5902498"/>
              <a:ext cx="658373" cy="378242"/>
              <a:chOff x="2195243" y="5902498"/>
              <a:chExt cx="658373" cy="378242"/>
            </a:xfrm>
          </p:grpSpPr>
          <p:sp>
            <p:nvSpPr>
              <p:cNvPr id="172" name="Rectangle 30"/>
              <p:cNvSpPr>
                <a:spLocks noChangeArrowheads="1"/>
              </p:cNvSpPr>
              <p:nvPr/>
            </p:nvSpPr>
            <p:spPr bwMode="auto">
              <a:xfrm>
                <a:off x="2273989" y="5902498"/>
                <a:ext cx="509916"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3" name="Oval 31"/>
              <p:cNvSpPr>
                <a:spLocks noChangeArrowheads="1"/>
              </p:cNvSpPr>
              <p:nvPr/>
            </p:nvSpPr>
            <p:spPr bwMode="auto">
              <a:xfrm>
                <a:off x="2524429"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4" name="Rectangle 32"/>
              <p:cNvSpPr>
                <a:spLocks noChangeArrowheads="1"/>
              </p:cNvSpPr>
              <p:nvPr/>
            </p:nvSpPr>
            <p:spPr bwMode="auto">
              <a:xfrm>
                <a:off x="2292062" y="5929607"/>
                <a:ext cx="475061"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5" name="Freeform 33"/>
              <p:cNvSpPr>
                <a:spLocks/>
              </p:cNvSpPr>
              <p:nvPr/>
            </p:nvSpPr>
            <p:spPr bwMode="auto">
              <a:xfrm>
                <a:off x="2195243" y="6254921"/>
                <a:ext cx="658373" cy="25819"/>
              </a:xfrm>
              <a:custGeom>
                <a:avLst/>
                <a:gdLst>
                  <a:gd name="T0" fmla="*/ 0 w 449"/>
                  <a:gd name="T1" fmla="*/ 0 h 18"/>
                  <a:gd name="T2" fmla="*/ 0 w 449"/>
                  <a:gd name="T3" fmla="*/ 1 h 18"/>
                  <a:gd name="T4" fmla="*/ 17 w 449"/>
                  <a:gd name="T5" fmla="*/ 18 h 18"/>
                  <a:gd name="T6" fmla="*/ 433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8" y="18"/>
                      <a:pt x="17" y="18"/>
                    </a:cubicBezTo>
                    <a:cubicBezTo>
                      <a:pt x="433" y="18"/>
                      <a:pt x="433" y="18"/>
                      <a:pt x="433" y="18"/>
                    </a:cubicBezTo>
                    <a:cubicBezTo>
                      <a:pt x="442"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6" name="Freeform 38"/>
              <p:cNvSpPr>
                <a:spLocks/>
              </p:cNvSpPr>
              <p:nvPr/>
            </p:nvSpPr>
            <p:spPr bwMode="auto">
              <a:xfrm>
                <a:off x="2440519" y="6016100"/>
                <a:ext cx="171693" cy="153621"/>
              </a:xfrm>
              <a:custGeom>
                <a:avLst/>
                <a:gdLst>
                  <a:gd name="T0" fmla="*/ 99 w 117"/>
                  <a:gd name="T1" fmla="*/ 40 h 105"/>
                  <a:gd name="T2" fmla="*/ 114 w 117"/>
                  <a:gd name="T3" fmla="*/ 14 h 105"/>
                  <a:gd name="T4" fmla="*/ 89 w 117"/>
                  <a:gd name="T5" fmla="*/ 1 h 105"/>
                  <a:gd name="T6" fmla="*/ 63 w 117"/>
                  <a:gd name="T7" fmla="*/ 7 h 105"/>
                  <a:gd name="T8" fmla="*/ 40 w 117"/>
                  <a:gd name="T9" fmla="*/ 1 h 105"/>
                  <a:gd name="T10" fmla="*/ 12 w 117"/>
                  <a:gd name="T11" fmla="*/ 18 h 105"/>
                  <a:gd name="T12" fmla="*/ 20 w 117"/>
                  <a:gd name="T13" fmla="*/ 87 h 105"/>
                  <a:gd name="T14" fmla="*/ 42 w 117"/>
                  <a:gd name="T15" fmla="*/ 105 h 105"/>
                  <a:gd name="T16" fmla="*/ 64 w 117"/>
                  <a:gd name="T17" fmla="*/ 99 h 105"/>
                  <a:gd name="T18" fmla="*/ 87 w 117"/>
                  <a:gd name="T19" fmla="*/ 104 h 105"/>
                  <a:gd name="T20" fmla="*/ 108 w 117"/>
                  <a:gd name="T21" fmla="*/ 88 h 105"/>
                  <a:gd name="T22" fmla="*/ 117 w 117"/>
                  <a:gd name="T23" fmla="*/ 68 h 105"/>
                  <a:gd name="T24" fmla="*/ 99 w 117"/>
                  <a:gd name="T25" fmla="*/ 4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05">
                    <a:moveTo>
                      <a:pt x="99" y="40"/>
                    </a:moveTo>
                    <a:cubicBezTo>
                      <a:pt x="99" y="23"/>
                      <a:pt x="113" y="15"/>
                      <a:pt x="114" y="14"/>
                    </a:cubicBezTo>
                    <a:cubicBezTo>
                      <a:pt x="106" y="3"/>
                      <a:pt x="93" y="1"/>
                      <a:pt x="89" y="1"/>
                    </a:cubicBezTo>
                    <a:cubicBezTo>
                      <a:pt x="78" y="0"/>
                      <a:pt x="68" y="7"/>
                      <a:pt x="63" y="7"/>
                    </a:cubicBezTo>
                    <a:cubicBezTo>
                      <a:pt x="57" y="7"/>
                      <a:pt x="49" y="1"/>
                      <a:pt x="40" y="1"/>
                    </a:cubicBezTo>
                    <a:cubicBezTo>
                      <a:pt x="28" y="1"/>
                      <a:pt x="18" y="8"/>
                      <a:pt x="12" y="18"/>
                    </a:cubicBezTo>
                    <a:cubicBezTo>
                      <a:pt x="0" y="39"/>
                      <a:pt x="9" y="70"/>
                      <a:pt x="20" y="87"/>
                    </a:cubicBezTo>
                    <a:cubicBezTo>
                      <a:pt x="26" y="96"/>
                      <a:pt x="33" y="105"/>
                      <a:pt x="42" y="105"/>
                    </a:cubicBezTo>
                    <a:cubicBezTo>
                      <a:pt x="51" y="104"/>
                      <a:pt x="54" y="99"/>
                      <a:pt x="64" y="99"/>
                    </a:cubicBezTo>
                    <a:cubicBezTo>
                      <a:pt x="75" y="99"/>
                      <a:pt x="78" y="105"/>
                      <a:pt x="87" y="104"/>
                    </a:cubicBezTo>
                    <a:cubicBezTo>
                      <a:pt x="96" y="104"/>
                      <a:pt x="102" y="96"/>
                      <a:pt x="108" y="88"/>
                    </a:cubicBezTo>
                    <a:cubicBezTo>
                      <a:pt x="115" y="78"/>
                      <a:pt x="117" y="69"/>
                      <a:pt x="117" y="68"/>
                    </a:cubicBezTo>
                    <a:cubicBezTo>
                      <a:pt x="117" y="68"/>
                      <a:pt x="99" y="61"/>
                      <a:pt x="99"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7" name="Freeform 39"/>
              <p:cNvSpPr>
                <a:spLocks/>
              </p:cNvSpPr>
              <p:nvPr/>
            </p:nvSpPr>
            <p:spPr bwMode="auto">
              <a:xfrm>
                <a:off x="2530884" y="5968335"/>
                <a:ext cx="42600" cy="47765"/>
              </a:xfrm>
              <a:custGeom>
                <a:avLst/>
                <a:gdLst>
                  <a:gd name="T0" fmla="*/ 21 w 29"/>
                  <a:gd name="T1" fmla="*/ 22 h 32"/>
                  <a:gd name="T2" fmla="*/ 28 w 29"/>
                  <a:gd name="T3" fmla="*/ 0 h 32"/>
                  <a:gd name="T4" fmla="*/ 8 w 29"/>
                  <a:gd name="T5" fmla="*/ 10 h 32"/>
                  <a:gd name="T6" fmla="*/ 1 w 29"/>
                  <a:gd name="T7" fmla="*/ 31 h 32"/>
                  <a:gd name="T8" fmla="*/ 21 w 29"/>
                  <a:gd name="T9" fmla="*/ 22 h 32"/>
                </a:gdLst>
                <a:ahLst/>
                <a:cxnLst>
                  <a:cxn ang="0">
                    <a:pos x="T0" y="T1"/>
                  </a:cxn>
                  <a:cxn ang="0">
                    <a:pos x="T2" y="T3"/>
                  </a:cxn>
                  <a:cxn ang="0">
                    <a:pos x="T4" y="T5"/>
                  </a:cxn>
                  <a:cxn ang="0">
                    <a:pos x="T6" y="T7"/>
                  </a:cxn>
                  <a:cxn ang="0">
                    <a:pos x="T8" y="T9"/>
                  </a:cxn>
                </a:cxnLst>
                <a:rect l="0" t="0" r="r" b="b"/>
                <a:pathLst>
                  <a:path w="29" h="32">
                    <a:moveTo>
                      <a:pt x="21" y="22"/>
                    </a:moveTo>
                    <a:cubicBezTo>
                      <a:pt x="26" y="16"/>
                      <a:pt x="29" y="8"/>
                      <a:pt x="28" y="0"/>
                    </a:cubicBezTo>
                    <a:cubicBezTo>
                      <a:pt x="21" y="0"/>
                      <a:pt x="13" y="4"/>
                      <a:pt x="8" y="10"/>
                    </a:cubicBezTo>
                    <a:cubicBezTo>
                      <a:pt x="3" y="15"/>
                      <a:pt x="0" y="23"/>
                      <a:pt x="1" y="31"/>
                    </a:cubicBezTo>
                    <a:cubicBezTo>
                      <a:pt x="8" y="32"/>
                      <a:pt x="16" y="27"/>
                      <a:pt x="21"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grpSp>
        <p:grpSp>
          <p:nvGrpSpPr>
            <p:cNvPr id="162" name="Group 161"/>
            <p:cNvGrpSpPr/>
            <p:nvPr/>
          </p:nvGrpSpPr>
          <p:grpSpPr>
            <a:xfrm>
              <a:off x="606413" y="5902498"/>
              <a:ext cx="658373" cy="378242"/>
              <a:chOff x="1392286" y="5902498"/>
              <a:chExt cx="658373" cy="378242"/>
            </a:xfrm>
          </p:grpSpPr>
          <p:sp>
            <p:nvSpPr>
              <p:cNvPr id="164" name="Rectangle 34"/>
              <p:cNvSpPr>
                <a:spLocks noChangeArrowheads="1"/>
              </p:cNvSpPr>
              <p:nvPr/>
            </p:nvSpPr>
            <p:spPr bwMode="auto">
              <a:xfrm>
                <a:off x="1469742" y="5902498"/>
                <a:ext cx="511207"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5" name="Oval 35"/>
              <p:cNvSpPr>
                <a:spLocks noChangeArrowheads="1"/>
              </p:cNvSpPr>
              <p:nvPr/>
            </p:nvSpPr>
            <p:spPr bwMode="auto">
              <a:xfrm>
                <a:off x="1721472"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6" name="Rectangle 36"/>
              <p:cNvSpPr>
                <a:spLocks noChangeArrowheads="1"/>
              </p:cNvSpPr>
              <p:nvPr/>
            </p:nvSpPr>
            <p:spPr bwMode="auto">
              <a:xfrm>
                <a:off x="1487815" y="5929607"/>
                <a:ext cx="476352"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7" name="Freeform 37"/>
              <p:cNvSpPr>
                <a:spLocks/>
              </p:cNvSpPr>
              <p:nvPr/>
            </p:nvSpPr>
            <p:spPr bwMode="auto">
              <a:xfrm>
                <a:off x="1392286" y="6254921"/>
                <a:ext cx="658373" cy="25819"/>
              </a:xfrm>
              <a:custGeom>
                <a:avLst/>
                <a:gdLst>
                  <a:gd name="T0" fmla="*/ 0 w 449"/>
                  <a:gd name="T1" fmla="*/ 0 h 18"/>
                  <a:gd name="T2" fmla="*/ 0 w 449"/>
                  <a:gd name="T3" fmla="*/ 1 h 18"/>
                  <a:gd name="T4" fmla="*/ 16 w 449"/>
                  <a:gd name="T5" fmla="*/ 18 h 18"/>
                  <a:gd name="T6" fmla="*/ 432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7" y="18"/>
                      <a:pt x="16" y="18"/>
                    </a:cubicBezTo>
                    <a:cubicBezTo>
                      <a:pt x="432" y="18"/>
                      <a:pt x="432" y="18"/>
                      <a:pt x="432" y="18"/>
                    </a:cubicBezTo>
                    <a:cubicBezTo>
                      <a:pt x="441"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8" name="Freeform 40"/>
              <p:cNvSpPr>
                <a:spLocks/>
              </p:cNvSpPr>
              <p:nvPr/>
            </p:nvSpPr>
            <p:spPr bwMode="auto">
              <a:xfrm>
                <a:off x="1711145" y="5988990"/>
                <a:ext cx="98110" cy="86493"/>
              </a:xfrm>
              <a:custGeom>
                <a:avLst/>
                <a:gdLst>
                  <a:gd name="T0" fmla="*/ 0 w 76"/>
                  <a:gd name="T1" fmla="*/ 67 h 67"/>
                  <a:gd name="T2" fmla="*/ 76 w 76"/>
                  <a:gd name="T3" fmla="*/ 67 h 67"/>
                  <a:gd name="T4" fmla="*/ 76 w 76"/>
                  <a:gd name="T5" fmla="*/ 0 h 67"/>
                  <a:gd name="T6" fmla="*/ 0 w 76"/>
                  <a:gd name="T7" fmla="*/ 11 h 67"/>
                  <a:gd name="T8" fmla="*/ 0 w 76"/>
                  <a:gd name="T9" fmla="*/ 67 h 67"/>
                </a:gdLst>
                <a:ahLst/>
                <a:cxnLst>
                  <a:cxn ang="0">
                    <a:pos x="T0" y="T1"/>
                  </a:cxn>
                  <a:cxn ang="0">
                    <a:pos x="T2" y="T3"/>
                  </a:cxn>
                  <a:cxn ang="0">
                    <a:pos x="T4" y="T5"/>
                  </a:cxn>
                  <a:cxn ang="0">
                    <a:pos x="T6" y="T7"/>
                  </a:cxn>
                  <a:cxn ang="0">
                    <a:pos x="T8" y="T9"/>
                  </a:cxn>
                </a:cxnLst>
                <a:rect l="0" t="0" r="r" b="b"/>
                <a:pathLst>
                  <a:path w="76" h="67">
                    <a:moveTo>
                      <a:pt x="0" y="67"/>
                    </a:moveTo>
                    <a:lnTo>
                      <a:pt x="76" y="67"/>
                    </a:lnTo>
                    <a:lnTo>
                      <a:pt x="76" y="0"/>
                    </a:lnTo>
                    <a:lnTo>
                      <a:pt x="0" y="11"/>
                    </a:lnTo>
                    <a:lnTo>
                      <a:pt x="0"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9" name="Freeform 41"/>
              <p:cNvSpPr>
                <a:spLocks/>
              </p:cNvSpPr>
              <p:nvPr/>
            </p:nvSpPr>
            <p:spPr bwMode="auto">
              <a:xfrm>
                <a:off x="1633689" y="6003191"/>
                <a:ext cx="73582" cy="72292"/>
              </a:xfrm>
              <a:custGeom>
                <a:avLst/>
                <a:gdLst>
                  <a:gd name="T0" fmla="*/ 57 w 57"/>
                  <a:gd name="T1" fmla="*/ 56 h 56"/>
                  <a:gd name="T2" fmla="*/ 57 w 57"/>
                  <a:gd name="T3" fmla="*/ 0 h 56"/>
                  <a:gd name="T4" fmla="*/ 0 w 57"/>
                  <a:gd name="T5" fmla="*/ 8 h 56"/>
                  <a:gd name="T6" fmla="*/ 0 w 57"/>
                  <a:gd name="T7" fmla="*/ 56 h 56"/>
                  <a:gd name="T8" fmla="*/ 57 w 57"/>
                  <a:gd name="T9" fmla="*/ 56 h 56"/>
                </a:gdLst>
                <a:ahLst/>
                <a:cxnLst>
                  <a:cxn ang="0">
                    <a:pos x="T0" y="T1"/>
                  </a:cxn>
                  <a:cxn ang="0">
                    <a:pos x="T2" y="T3"/>
                  </a:cxn>
                  <a:cxn ang="0">
                    <a:pos x="T4" y="T5"/>
                  </a:cxn>
                  <a:cxn ang="0">
                    <a:pos x="T6" y="T7"/>
                  </a:cxn>
                  <a:cxn ang="0">
                    <a:pos x="T8" y="T9"/>
                  </a:cxn>
                </a:cxnLst>
                <a:rect l="0" t="0" r="r" b="b"/>
                <a:pathLst>
                  <a:path w="57" h="56">
                    <a:moveTo>
                      <a:pt x="57" y="56"/>
                    </a:moveTo>
                    <a:lnTo>
                      <a:pt x="57" y="0"/>
                    </a:lnTo>
                    <a:lnTo>
                      <a:pt x="0" y="8"/>
                    </a:lnTo>
                    <a:lnTo>
                      <a:pt x="0" y="56"/>
                    </a:lnTo>
                    <a:lnTo>
                      <a:pt x="5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0" name="Freeform 42"/>
              <p:cNvSpPr>
                <a:spLocks/>
              </p:cNvSpPr>
              <p:nvPr/>
            </p:nvSpPr>
            <p:spPr bwMode="auto">
              <a:xfrm>
                <a:off x="1633689" y="6078064"/>
                <a:ext cx="73582" cy="73583"/>
              </a:xfrm>
              <a:custGeom>
                <a:avLst/>
                <a:gdLst>
                  <a:gd name="T0" fmla="*/ 57 w 57"/>
                  <a:gd name="T1" fmla="*/ 0 h 57"/>
                  <a:gd name="T2" fmla="*/ 0 w 57"/>
                  <a:gd name="T3" fmla="*/ 0 h 57"/>
                  <a:gd name="T4" fmla="*/ 0 w 57"/>
                  <a:gd name="T5" fmla="*/ 49 h 57"/>
                  <a:gd name="T6" fmla="*/ 57 w 57"/>
                  <a:gd name="T7" fmla="*/ 57 h 57"/>
                  <a:gd name="T8" fmla="*/ 57 w 57"/>
                  <a:gd name="T9" fmla="*/ 0 h 57"/>
                </a:gdLst>
                <a:ahLst/>
                <a:cxnLst>
                  <a:cxn ang="0">
                    <a:pos x="T0" y="T1"/>
                  </a:cxn>
                  <a:cxn ang="0">
                    <a:pos x="T2" y="T3"/>
                  </a:cxn>
                  <a:cxn ang="0">
                    <a:pos x="T4" y="T5"/>
                  </a:cxn>
                  <a:cxn ang="0">
                    <a:pos x="T6" y="T7"/>
                  </a:cxn>
                  <a:cxn ang="0">
                    <a:pos x="T8" y="T9"/>
                  </a:cxn>
                </a:cxnLst>
                <a:rect l="0" t="0" r="r" b="b"/>
                <a:pathLst>
                  <a:path w="57" h="57">
                    <a:moveTo>
                      <a:pt x="57" y="0"/>
                    </a:moveTo>
                    <a:lnTo>
                      <a:pt x="0" y="0"/>
                    </a:lnTo>
                    <a:lnTo>
                      <a:pt x="0" y="49"/>
                    </a:lnTo>
                    <a:lnTo>
                      <a:pt x="57" y="5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1" name="Freeform 43"/>
              <p:cNvSpPr>
                <a:spLocks/>
              </p:cNvSpPr>
              <p:nvPr/>
            </p:nvSpPr>
            <p:spPr bwMode="auto">
              <a:xfrm>
                <a:off x="1711145" y="6078064"/>
                <a:ext cx="98110" cy="87783"/>
              </a:xfrm>
              <a:custGeom>
                <a:avLst/>
                <a:gdLst>
                  <a:gd name="T0" fmla="*/ 0 w 76"/>
                  <a:gd name="T1" fmla="*/ 0 h 68"/>
                  <a:gd name="T2" fmla="*/ 0 w 76"/>
                  <a:gd name="T3" fmla="*/ 57 h 68"/>
                  <a:gd name="T4" fmla="*/ 76 w 76"/>
                  <a:gd name="T5" fmla="*/ 68 h 68"/>
                  <a:gd name="T6" fmla="*/ 76 w 76"/>
                  <a:gd name="T7" fmla="*/ 0 h 68"/>
                  <a:gd name="T8" fmla="*/ 0 w 76"/>
                  <a:gd name="T9" fmla="*/ 0 h 68"/>
                </a:gdLst>
                <a:ahLst/>
                <a:cxnLst>
                  <a:cxn ang="0">
                    <a:pos x="T0" y="T1"/>
                  </a:cxn>
                  <a:cxn ang="0">
                    <a:pos x="T2" y="T3"/>
                  </a:cxn>
                  <a:cxn ang="0">
                    <a:pos x="T4" y="T5"/>
                  </a:cxn>
                  <a:cxn ang="0">
                    <a:pos x="T6" y="T7"/>
                  </a:cxn>
                  <a:cxn ang="0">
                    <a:pos x="T8" y="T9"/>
                  </a:cxn>
                </a:cxnLst>
                <a:rect l="0" t="0" r="r" b="b"/>
                <a:pathLst>
                  <a:path w="76" h="68">
                    <a:moveTo>
                      <a:pt x="0" y="0"/>
                    </a:moveTo>
                    <a:lnTo>
                      <a:pt x="0" y="57"/>
                    </a:lnTo>
                    <a:lnTo>
                      <a:pt x="76" y="68"/>
                    </a:lnTo>
                    <a:lnTo>
                      <a:pt x="7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grpSp>
        <p:sp>
          <p:nvSpPr>
            <p:cNvPr id="163" name="TextBox 162"/>
            <p:cNvSpPr txBox="1"/>
            <p:nvPr/>
          </p:nvSpPr>
          <p:spPr>
            <a:xfrm>
              <a:off x="252964" y="4876684"/>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grpSp>
      <p:sp>
        <p:nvSpPr>
          <p:cNvPr id="178" name="Right Arrow 5"/>
          <p:cNvSpPr/>
          <p:nvPr/>
        </p:nvSpPr>
        <p:spPr>
          <a:xfrm>
            <a:off x="5620115" y="1702754"/>
            <a:ext cx="2041084" cy="944040"/>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179" name="Freeform: Shape 42"/>
          <p:cNvSpPr/>
          <p:nvPr/>
        </p:nvSpPr>
        <p:spPr>
          <a:xfrm rot="16200000">
            <a:off x="6758955" y="2587437"/>
            <a:ext cx="4421694" cy="1202278"/>
          </a:xfrm>
          <a:custGeom>
            <a:avLst/>
            <a:gdLst>
              <a:gd name="connsiteX0" fmla="*/ 4387029 w 4387029"/>
              <a:gd name="connsiteY0" fmla="*/ 881005 h 1202278"/>
              <a:gd name="connsiteX1" fmla="*/ 4387029 w 4387029"/>
              <a:gd name="connsiteY1" fmla="*/ 1202278 h 1202278"/>
              <a:gd name="connsiteX2" fmla="*/ 4714 w 4387029"/>
              <a:gd name="connsiteY2" fmla="*/ 1202278 h 1202278"/>
              <a:gd name="connsiteX3" fmla="*/ 4714 w 4387029"/>
              <a:gd name="connsiteY3" fmla="*/ 885097 h 1202278"/>
              <a:gd name="connsiteX4" fmla="*/ 0 w 4387029"/>
              <a:gd name="connsiteY4" fmla="*/ 885083 h 1202278"/>
              <a:gd name="connsiteX5" fmla="*/ 4714 w 4387029"/>
              <a:gd name="connsiteY5" fmla="*/ 883793 h 1202278"/>
              <a:gd name="connsiteX6" fmla="*/ 4714 w 4387029"/>
              <a:gd name="connsiteY6" fmla="*/ 881005 h 1202278"/>
              <a:gd name="connsiteX7" fmla="*/ 14900 w 4387029"/>
              <a:gd name="connsiteY7" fmla="*/ 881005 h 1202278"/>
              <a:gd name="connsiteX8" fmla="*/ 3233840 w 4387029"/>
              <a:gd name="connsiteY8" fmla="*/ 0 h 1202278"/>
              <a:gd name="connsiteX9" fmla="*/ 4365100 w 4387029"/>
              <a:gd name="connsiteY9" fmla="*/ 881005 h 1202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7029" h="1202278">
                <a:moveTo>
                  <a:pt x="4387029" y="881005"/>
                </a:moveTo>
                <a:lnTo>
                  <a:pt x="4387029" y="1202278"/>
                </a:lnTo>
                <a:lnTo>
                  <a:pt x="4714" y="1202278"/>
                </a:lnTo>
                <a:lnTo>
                  <a:pt x="4714" y="885097"/>
                </a:lnTo>
                <a:lnTo>
                  <a:pt x="0" y="885083"/>
                </a:lnTo>
                <a:lnTo>
                  <a:pt x="4714" y="883793"/>
                </a:lnTo>
                <a:lnTo>
                  <a:pt x="4714" y="881005"/>
                </a:lnTo>
                <a:lnTo>
                  <a:pt x="14900" y="881005"/>
                </a:lnTo>
                <a:lnTo>
                  <a:pt x="3233840" y="0"/>
                </a:lnTo>
                <a:lnTo>
                  <a:pt x="4365100" y="881005"/>
                </a:lnTo>
                <a:close/>
              </a:path>
            </a:pathLst>
          </a:custGeom>
          <a:solidFill>
            <a:srgbClr val="505050"/>
          </a:solidFill>
          <a:ln w="28575" cap="flat" cmpd="sng" algn="ctr">
            <a:solidFill>
              <a:schemeClr val="bg1">
                <a:lumMod val="75000"/>
              </a:schemeClr>
            </a:solidFill>
            <a:prstDash val="soli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ea typeface="+mj-ea"/>
              <a:cs typeface="+mj-cs"/>
            </a:endParaRPr>
          </a:p>
        </p:txBody>
      </p:sp>
      <p:sp>
        <p:nvSpPr>
          <p:cNvPr id="180" name="Bent Arrow 14"/>
          <p:cNvSpPr/>
          <p:nvPr/>
        </p:nvSpPr>
        <p:spPr>
          <a:xfrm rot="10800000">
            <a:off x="2914555" y="2859075"/>
            <a:ext cx="5846899" cy="3122594"/>
          </a:xfrm>
          <a:prstGeom prst="bentArrow">
            <a:avLst>
              <a:gd name="adj1" fmla="val 4873"/>
              <a:gd name="adj2" fmla="val 8600"/>
              <a:gd name="adj3" fmla="val 13322"/>
              <a:gd name="adj4" fmla="val 294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181" name="AutoShape 21"/>
          <p:cNvSpPr>
            <a:spLocks noChangeAspect="1" noChangeArrowheads="1" noTextEdit="1"/>
          </p:cNvSpPr>
          <p:nvPr/>
        </p:nvSpPr>
        <p:spPr bwMode="auto">
          <a:xfrm>
            <a:off x="473679" y="5153617"/>
            <a:ext cx="2234594" cy="1441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83" name="Rectangle 182"/>
          <p:cNvSpPr/>
          <p:nvPr/>
        </p:nvSpPr>
        <p:spPr>
          <a:xfrm>
            <a:off x="636182" y="3714956"/>
            <a:ext cx="516056"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sysClr val="windowText" lastClr="000000"/>
                </a:solidFill>
                <a:effectLst/>
                <a:uLnTx/>
                <a:uFillTx/>
                <a:latin typeface="+mj-lt"/>
                <a:ea typeface="Segoe UI" panose="020B0502040204020203" pitchFamily="34" charset="0"/>
                <a:cs typeface="Segoe UI" panose="020B0502040204020203" pitchFamily="34" charset="0"/>
              </a:rPr>
              <a:t>Pus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sysClr val="windowText" lastClr="000000"/>
                </a:solidFill>
                <a:effectLst/>
                <a:uLnTx/>
                <a:uFillTx/>
                <a:latin typeface="+mj-lt"/>
                <a:ea typeface="Segoe UI" panose="020B0502040204020203" pitchFamily="34" charset="0"/>
                <a:cs typeface="Segoe UI" panose="020B0502040204020203" pitchFamily="34" charset="0"/>
              </a:rPr>
              <a:t>Code</a:t>
            </a:r>
          </a:p>
        </p:txBody>
      </p:sp>
      <p:cxnSp>
        <p:nvCxnSpPr>
          <p:cNvPr id="184" name="Straight Arrow Connector 183"/>
          <p:cNvCxnSpPr>
            <a:cxnSpLocks/>
            <a:stCxn id="214" idx="1"/>
          </p:cNvCxnSpPr>
          <p:nvPr/>
        </p:nvCxnSpPr>
        <p:spPr>
          <a:xfrm flipH="1">
            <a:off x="2977429" y="3885006"/>
            <a:ext cx="2007096" cy="1186253"/>
          </a:xfrm>
          <a:prstGeom prst="straightConnector1">
            <a:avLst/>
          </a:prstGeom>
          <a:ln w="76200">
            <a:solidFill>
              <a:srgbClr val="89CBFF"/>
            </a:solidFill>
            <a:headEnd type="none"/>
            <a:tailEnd type="triangle" w="med" len="lg"/>
          </a:ln>
        </p:spPr>
        <p:style>
          <a:lnRef idx="1">
            <a:schemeClr val="accent1"/>
          </a:lnRef>
          <a:fillRef idx="0">
            <a:schemeClr val="accent1"/>
          </a:fillRef>
          <a:effectRef idx="0">
            <a:schemeClr val="accent1"/>
          </a:effectRef>
          <a:fontRef idx="minor">
            <a:schemeClr val="tx1"/>
          </a:fontRef>
        </p:style>
      </p:cxnSp>
      <p:grpSp>
        <p:nvGrpSpPr>
          <p:cNvPr id="185" name="Group 184"/>
          <p:cNvGrpSpPr/>
          <p:nvPr/>
        </p:nvGrpSpPr>
        <p:grpSpPr>
          <a:xfrm>
            <a:off x="7572388" y="1387710"/>
            <a:ext cx="1488138" cy="1638004"/>
            <a:chOff x="7572388" y="1387710"/>
            <a:chExt cx="1488138" cy="1638004"/>
          </a:xfrm>
        </p:grpSpPr>
        <p:sp>
          <p:nvSpPr>
            <p:cNvPr id="186" name="Rounded Rectangle 26"/>
            <p:cNvSpPr/>
            <p:nvPr/>
          </p:nvSpPr>
          <p:spPr>
            <a:xfrm>
              <a:off x="7576828"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187" name="TextBox 186"/>
            <p:cNvSpPr txBox="1"/>
            <p:nvPr/>
          </p:nvSpPr>
          <p:spPr>
            <a:xfrm>
              <a:off x="7572388" y="2437531"/>
              <a:ext cx="1406898" cy="588183"/>
            </a:xfrm>
            <a:prstGeom prst="rect">
              <a:avLst/>
            </a:prstGeom>
          </p:spPr>
          <p:txBody>
            <a:bodyPr vert="horz" wrap="square" lIns="91390" tIns="91390" rIns="91390" bIns="91390" rtlCol="0" anchor="t">
              <a:noAutofit/>
            </a:bodyPr>
            <a:lstStyle/>
            <a:p>
              <a:pPr marL="233205" marR="0" lvl="0" indent="-233205" algn="l" defTabSz="896386"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itchFamily="34" charset="0"/>
                  <a:cs typeface="Segoe UI" panose="020B0502040204020203" pitchFamily="34" charset="0"/>
                </a:rPr>
                <a:t>Production</a:t>
              </a:r>
            </a:p>
            <a:p>
              <a:pPr marL="233205" marR="0" lvl="0" indent="-233205" algn="l" defTabSz="896386"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itchFamily="34" charset="0"/>
                  <a:cs typeface="Segoe UI" panose="020B0502040204020203" pitchFamily="34" charset="0"/>
                </a:rPr>
                <a:t>environments</a:t>
              </a:r>
            </a:p>
          </p:txBody>
        </p:sp>
        <p:sp>
          <p:nvSpPr>
            <p:cNvPr id="188" name="TextBox 187"/>
            <p:cNvSpPr txBox="1"/>
            <p:nvPr/>
          </p:nvSpPr>
          <p:spPr>
            <a:xfrm>
              <a:off x="7632963" y="1680614"/>
              <a:ext cx="1411380" cy="427319"/>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itchFamily="34" charset="0"/>
                  <a:cs typeface="Segoe UI" panose="020B0502040204020203" pitchFamily="34" charset="0"/>
                </a:rPr>
                <a:t>Run, Manage</a:t>
              </a:r>
            </a:p>
          </p:txBody>
        </p:sp>
        <p:sp>
          <p:nvSpPr>
            <p:cNvPr id="189" name="Rectangle 188"/>
            <p:cNvSpPr/>
            <p:nvPr/>
          </p:nvSpPr>
          <p:spPr>
            <a:xfrm>
              <a:off x="7683226" y="2034185"/>
              <a:ext cx="1262181" cy="4321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j-lt"/>
                <a:ea typeface="+mn-ea"/>
                <a:cs typeface="+mn-cs"/>
              </a:endParaRPr>
            </a:p>
          </p:txBody>
        </p:sp>
        <p:pic>
          <p:nvPicPr>
            <p:cNvPr id="190" name="Picture 189"/>
            <p:cNvPicPr>
              <a:picLocks noChangeAspect="1"/>
            </p:cNvPicPr>
            <p:nvPr/>
          </p:nvPicPr>
          <p:blipFill>
            <a:blip r:embed="rId8"/>
            <a:stretch>
              <a:fillRect/>
            </a:stretch>
          </p:blipFill>
          <p:spPr>
            <a:xfrm>
              <a:off x="7769766" y="2080979"/>
              <a:ext cx="392605" cy="338551"/>
            </a:xfrm>
            <a:prstGeom prst="rect">
              <a:avLst/>
            </a:prstGeom>
          </p:spPr>
        </p:pic>
        <p:sp>
          <p:nvSpPr>
            <p:cNvPr id="191" name="TextBox 190"/>
            <p:cNvSpPr txBox="1"/>
            <p:nvPr/>
          </p:nvSpPr>
          <p:spPr>
            <a:xfrm>
              <a:off x="7849949" y="1387710"/>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pic>
          <p:nvPicPr>
            <p:cNvPr id="192" name="Picture 191"/>
            <p:cNvPicPr>
              <a:picLocks noChangeAspect="1"/>
            </p:cNvPicPr>
            <p:nvPr/>
          </p:nvPicPr>
          <p:blipFill>
            <a:blip r:embed="rId9"/>
            <a:stretch>
              <a:fillRect/>
            </a:stretch>
          </p:blipFill>
          <p:spPr>
            <a:xfrm>
              <a:off x="8296301" y="2105507"/>
              <a:ext cx="628748" cy="308658"/>
            </a:xfrm>
            <a:prstGeom prst="rect">
              <a:avLst/>
            </a:prstGeom>
          </p:spPr>
        </p:pic>
        <p:cxnSp>
          <p:nvCxnSpPr>
            <p:cNvPr id="193" name="Straight Connector 192"/>
            <p:cNvCxnSpPr/>
            <p:nvPr/>
          </p:nvCxnSpPr>
          <p:spPr>
            <a:xfrm>
              <a:off x="8199520" y="2090620"/>
              <a:ext cx="96781" cy="21195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flipV="1">
              <a:off x="8190439" y="2398285"/>
              <a:ext cx="116983" cy="2976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95" name="Rectangle: Rounded Corners 60"/>
            <p:cNvSpPr/>
            <p:nvPr/>
          </p:nvSpPr>
          <p:spPr>
            <a:xfrm>
              <a:off x="7725711" y="2057484"/>
              <a:ext cx="482889" cy="380047"/>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j-lt"/>
                <a:ea typeface="+mn-ea"/>
                <a:cs typeface="+mn-cs"/>
              </a:endParaRPr>
            </a:p>
          </p:txBody>
        </p:sp>
      </p:grpSp>
      <p:grpSp>
        <p:nvGrpSpPr>
          <p:cNvPr id="196" name="Group 195"/>
          <p:cNvGrpSpPr/>
          <p:nvPr/>
        </p:nvGrpSpPr>
        <p:grpSpPr>
          <a:xfrm>
            <a:off x="4681901" y="4747986"/>
            <a:ext cx="2069421" cy="1612297"/>
            <a:chOff x="4681901" y="4747986"/>
            <a:chExt cx="2069421" cy="1612297"/>
          </a:xfrm>
        </p:grpSpPr>
        <p:pic>
          <p:nvPicPr>
            <p:cNvPr id="197" name="Picture 196"/>
            <p:cNvPicPr>
              <a:picLocks noChangeAspect="1"/>
            </p:cNvPicPr>
            <p:nvPr/>
          </p:nvPicPr>
          <p:blipFill>
            <a:blip r:embed="rId10">
              <a:duotone>
                <a:prstClr val="black"/>
                <a:schemeClr val="accent3">
                  <a:tint val="45000"/>
                  <a:satMod val="400000"/>
                </a:schemeClr>
              </a:duotone>
            </a:blip>
            <a:stretch>
              <a:fillRect/>
            </a:stretch>
          </p:blipFill>
          <p:spPr>
            <a:xfrm>
              <a:off x="4681901" y="4854122"/>
              <a:ext cx="2069421" cy="1506161"/>
            </a:xfrm>
            <a:prstGeom prst="rect">
              <a:avLst/>
            </a:prstGeom>
          </p:spPr>
        </p:pic>
        <p:sp>
          <p:nvSpPr>
            <p:cNvPr id="198" name="Rectangle 197"/>
            <p:cNvSpPr/>
            <p:nvPr/>
          </p:nvSpPr>
          <p:spPr>
            <a:xfrm>
              <a:off x="4984766" y="4897716"/>
              <a:ext cx="1705477" cy="202787"/>
            </a:xfrm>
            <a:prstGeom prst="rect">
              <a:avLst/>
            </a:prstGeom>
            <a:solidFill>
              <a:srgbClr val="6565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j-lt"/>
                <a:ea typeface="+mn-ea"/>
                <a:cs typeface="+mn-cs"/>
              </a:endParaRPr>
            </a:p>
          </p:txBody>
        </p:sp>
        <p:sp>
          <p:nvSpPr>
            <p:cNvPr id="199" name="TextBox 198"/>
            <p:cNvSpPr txBox="1"/>
            <p:nvPr/>
          </p:nvSpPr>
          <p:spPr>
            <a:xfrm>
              <a:off x="5291402" y="4747986"/>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grpSp>
      <p:grpSp>
        <p:nvGrpSpPr>
          <p:cNvPr id="200" name="Group 199"/>
          <p:cNvGrpSpPr/>
          <p:nvPr/>
        </p:nvGrpSpPr>
        <p:grpSpPr>
          <a:xfrm>
            <a:off x="898476" y="5113778"/>
            <a:ext cx="1313988" cy="896502"/>
            <a:chOff x="1883426" y="5104140"/>
            <a:chExt cx="1313988" cy="896502"/>
          </a:xfrm>
        </p:grpSpPr>
        <p:pic>
          <p:nvPicPr>
            <p:cNvPr id="201" name="Picture 200"/>
            <p:cNvPicPr>
              <a:picLocks noChangeAspect="1"/>
            </p:cNvPicPr>
            <p:nvPr/>
          </p:nvPicPr>
          <p:blipFill>
            <a:blip r:embed="rId11"/>
            <a:stretch>
              <a:fillRect/>
            </a:stretch>
          </p:blipFill>
          <p:spPr>
            <a:xfrm>
              <a:off x="2145264" y="5243497"/>
              <a:ext cx="668742" cy="618646"/>
            </a:xfrm>
            <a:prstGeom prst="rect">
              <a:avLst/>
            </a:prstGeom>
          </p:spPr>
        </p:pic>
        <p:sp>
          <p:nvSpPr>
            <p:cNvPr id="202" name="Rectangle 201"/>
            <p:cNvSpPr/>
            <p:nvPr/>
          </p:nvSpPr>
          <p:spPr>
            <a:xfrm>
              <a:off x="1883426" y="5483571"/>
              <a:ext cx="240450" cy="138499"/>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Code</a:t>
              </a:r>
            </a:p>
          </p:txBody>
        </p:sp>
        <p:sp>
          <p:nvSpPr>
            <p:cNvPr id="203" name="Rectangle 202"/>
            <p:cNvSpPr/>
            <p:nvPr/>
          </p:nvSpPr>
          <p:spPr>
            <a:xfrm>
              <a:off x="2379447" y="5104140"/>
              <a:ext cx="179536" cy="138499"/>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Run</a:t>
              </a:r>
            </a:p>
          </p:txBody>
        </p:sp>
        <p:sp>
          <p:nvSpPr>
            <p:cNvPr id="204" name="Rectangle 203"/>
            <p:cNvSpPr/>
            <p:nvPr/>
          </p:nvSpPr>
          <p:spPr>
            <a:xfrm>
              <a:off x="2817502" y="5483571"/>
              <a:ext cx="379912" cy="138499"/>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Validate</a:t>
              </a:r>
            </a:p>
          </p:txBody>
        </p:sp>
        <p:sp>
          <p:nvSpPr>
            <p:cNvPr id="205" name="Rectangle 204"/>
            <p:cNvSpPr/>
            <p:nvPr/>
          </p:nvSpPr>
          <p:spPr>
            <a:xfrm>
              <a:off x="2308915" y="5862143"/>
              <a:ext cx="301365" cy="138499"/>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Debug</a:t>
              </a:r>
            </a:p>
          </p:txBody>
        </p:sp>
      </p:grpSp>
      <p:grpSp>
        <p:nvGrpSpPr>
          <p:cNvPr id="206" name="Group 205"/>
          <p:cNvGrpSpPr/>
          <p:nvPr/>
        </p:nvGrpSpPr>
        <p:grpSpPr>
          <a:xfrm>
            <a:off x="1369381" y="4802368"/>
            <a:ext cx="1509926" cy="895613"/>
            <a:chOff x="1369381" y="4802368"/>
            <a:chExt cx="1509926" cy="895613"/>
          </a:xfrm>
        </p:grpSpPr>
        <p:pic>
          <p:nvPicPr>
            <p:cNvPr id="207" name="Picture 12" descr="Image result for docker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280309" y="4802368"/>
              <a:ext cx="598998" cy="399332"/>
            </a:xfrm>
            <a:prstGeom prst="rect">
              <a:avLst/>
            </a:prstGeom>
            <a:noFill/>
            <a:extLst>
              <a:ext uri="{909E8E84-426E-40DD-AFC4-6F175D3DCCD1}">
                <a14:hiddenFill xmlns:a14="http://schemas.microsoft.com/office/drawing/2010/main">
                  <a:solidFill>
                    <a:srgbClr val="FFFFFF"/>
                  </a:solidFill>
                </a14:hiddenFill>
              </a:ext>
            </a:extLst>
          </p:spPr>
        </p:pic>
        <p:pic>
          <p:nvPicPr>
            <p:cNvPr id="208" name="Picture_x0020_6" descr="image016"/>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369381" y="5426936"/>
              <a:ext cx="297381" cy="27104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10" name="Picture 12" descr="Image result for docker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659032" y="2499978"/>
            <a:ext cx="598998" cy="399332"/>
          </a:xfrm>
          <a:prstGeom prst="rect">
            <a:avLst/>
          </a:prstGeom>
          <a:noFill/>
          <a:extLst>
            <a:ext uri="{909E8E84-426E-40DD-AFC4-6F175D3DCCD1}">
              <a14:hiddenFill xmlns:a14="http://schemas.microsoft.com/office/drawing/2010/main">
                <a:solidFill>
                  <a:srgbClr val="FFFFFF"/>
                </a:solidFill>
              </a14:hiddenFill>
            </a:ext>
          </a:extLst>
        </p:spPr>
      </p:pic>
      <p:grpSp>
        <p:nvGrpSpPr>
          <p:cNvPr id="211" name="Group 210"/>
          <p:cNvGrpSpPr/>
          <p:nvPr/>
        </p:nvGrpSpPr>
        <p:grpSpPr>
          <a:xfrm>
            <a:off x="4974763" y="1387710"/>
            <a:ext cx="1483698" cy="1551834"/>
            <a:chOff x="4974763" y="1387710"/>
            <a:chExt cx="1483698" cy="1551834"/>
          </a:xfrm>
        </p:grpSpPr>
        <p:sp>
          <p:nvSpPr>
            <p:cNvPr id="212" name="Rounded Rectangle 12"/>
            <p:cNvSpPr/>
            <p:nvPr/>
          </p:nvSpPr>
          <p:spPr>
            <a:xfrm>
              <a:off x="4974763"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213" name="TextBox 212"/>
            <p:cNvSpPr txBox="1"/>
            <p:nvPr/>
          </p:nvSpPr>
          <p:spPr>
            <a:xfrm>
              <a:off x="5150687" y="1935424"/>
              <a:ext cx="1240480" cy="310392"/>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CD, Deploy</a:t>
              </a:r>
            </a:p>
          </p:txBody>
        </p:sp>
        <p:sp>
          <p:nvSpPr>
            <p:cNvPr id="214" name="TextBox 213"/>
            <p:cNvSpPr txBox="1"/>
            <p:nvPr/>
          </p:nvSpPr>
          <p:spPr>
            <a:xfrm>
              <a:off x="5223238" y="1387710"/>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grpSp>
      <p:cxnSp>
        <p:nvCxnSpPr>
          <p:cNvPr id="215" name="Straight Arrow Connector 214"/>
          <p:cNvCxnSpPr>
            <a:cxnSpLocks/>
          </p:cNvCxnSpPr>
          <p:nvPr/>
        </p:nvCxnSpPr>
        <p:spPr>
          <a:xfrm flipV="1">
            <a:off x="6462901" y="2869658"/>
            <a:ext cx="1167160" cy="572509"/>
          </a:xfrm>
          <a:prstGeom prst="straightConnector1">
            <a:avLst/>
          </a:prstGeom>
          <a:ln w="76200">
            <a:solidFill>
              <a:srgbClr val="89CBFF"/>
            </a:solidFill>
            <a:headEnd type="none"/>
            <a:tailEnd type="triangle" w="med" len="lg"/>
          </a:ln>
        </p:spPr>
        <p:style>
          <a:lnRef idx="1">
            <a:schemeClr val="accent1"/>
          </a:lnRef>
          <a:fillRef idx="0">
            <a:schemeClr val="accent1"/>
          </a:fillRef>
          <a:effectRef idx="0">
            <a:schemeClr val="accent1"/>
          </a:effectRef>
          <a:fontRef idx="minor">
            <a:schemeClr val="tx1"/>
          </a:fontRef>
        </p:style>
      </p:cxnSp>
      <p:pic>
        <p:nvPicPr>
          <p:cNvPr id="216" name="Picture 12" descr="Image result for docker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806302" y="2499978"/>
            <a:ext cx="598998" cy="399332"/>
          </a:xfrm>
          <a:prstGeom prst="rect">
            <a:avLst/>
          </a:prstGeom>
          <a:noFill/>
          <a:extLst>
            <a:ext uri="{909E8E84-426E-40DD-AFC4-6F175D3DCCD1}">
              <a14:hiddenFill xmlns:a14="http://schemas.microsoft.com/office/drawing/2010/main">
                <a:solidFill>
                  <a:srgbClr val="FFFFFF"/>
                </a:solidFill>
              </a14:hiddenFill>
            </a:ext>
          </a:extLst>
        </p:spPr>
      </p:pic>
      <p:sp>
        <p:nvSpPr>
          <p:cNvPr id="217" name="Rectangle 216"/>
          <p:cNvSpPr/>
          <p:nvPr/>
        </p:nvSpPr>
        <p:spPr>
          <a:xfrm>
            <a:off x="4381894" y="1449630"/>
            <a:ext cx="533400" cy="1449680"/>
          </a:xfrm>
          <a:prstGeom prst="rect">
            <a:avLst/>
          </a:prstGeom>
          <a:pattFill prst="horzBrick">
            <a:fgClr>
              <a:sysClr val="window" lastClr="FFFFFF"/>
            </a:fgClr>
            <a:bgClr>
              <a:srgbClr val="C0504D"/>
            </a:bgClr>
          </a:patt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218" name="Rectangle 217"/>
          <p:cNvSpPr/>
          <p:nvPr/>
        </p:nvSpPr>
        <p:spPr>
          <a:xfrm>
            <a:off x="1779210" y="1037548"/>
            <a:ext cx="4238318" cy="459819"/>
          </a:xfrm>
          <a:prstGeom prst="rect">
            <a:avLst/>
          </a:prstGeom>
        </p:spPr>
        <p:txBody>
          <a:bodyPr wrap="square">
            <a:spAutoFit/>
          </a:bodyPr>
          <a:lstStyle/>
          <a:p>
            <a:pPr marL="0" marR="0" lvl="0" indent="0" algn="l" defTabSz="1218791" rtl="0" eaLnBrk="1" fontAlgn="auto" latinLnBrk="0" hangingPunct="0">
              <a:lnSpc>
                <a:spcPct val="100000"/>
              </a:lnSpc>
              <a:spcBef>
                <a:spcPts val="0"/>
              </a:spcBef>
              <a:spcAft>
                <a:spcPts val="0"/>
              </a:spcAft>
              <a:buClrTx/>
              <a:buSzTx/>
              <a:buFontTx/>
              <a:buNone/>
              <a:tabLst/>
              <a:defRPr/>
            </a:pPr>
            <a:r>
              <a:rPr kumimoji="0" lang="en-US" sz="2400" u="none" strike="noStrike" kern="0" cap="none" spc="0" normalizeH="0" baseline="0" noProof="0">
                <a:ln>
                  <a:noFill/>
                </a:ln>
                <a:solidFill>
                  <a:srgbClr val="68217A"/>
                </a:solidFill>
                <a:effectLst/>
                <a:uLnTx/>
                <a:uFillTx/>
                <a:latin typeface="+mj-lt"/>
                <a:ea typeface="+mn-ea"/>
                <a:cs typeface="Calibri"/>
                <a:sym typeface="Calibri"/>
              </a:rPr>
              <a:t>Azure DevOps</a:t>
            </a:r>
          </a:p>
        </p:txBody>
      </p:sp>
      <p:grpSp>
        <p:nvGrpSpPr>
          <p:cNvPr id="219" name="Group 218"/>
          <p:cNvGrpSpPr/>
          <p:nvPr/>
        </p:nvGrpSpPr>
        <p:grpSpPr>
          <a:xfrm>
            <a:off x="608671" y="1428750"/>
            <a:ext cx="1483698" cy="1510794"/>
            <a:chOff x="608671" y="1428750"/>
            <a:chExt cx="1483698" cy="1510794"/>
          </a:xfrm>
        </p:grpSpPr>
        <p:sp>
          <p:nvSpPr>
            <p:cNvPr id="220" name="Rounded Rectangle 11"/>
            <p:cNvSpPr/>
            <p:nvPr/>
          </p:nvSpPr>
          <p:spPr>
            <a:xfrm>
              <a:off x="608671"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221" name="TextBox 220"/>
            <p:cNvSpPr txBox="1"/>
            <p:nvPr/>
          </p:nvSpPr>
          <p:spPr>
            <a:xfrm>
              <a:off x="659206" y="1806524"/>
              <a:ext cx="1375377" cy="876125"/>
            </a:xfrm>
            <a:prstGeom prst="rect">
              <a:avLst/>
            </a:prstGeom>
          </p:spPr>
          <p:txBody>
            <a:bodyPr vert="horz" wrap="square" lIns="91390" tIns="91390" rIns="91390" bIns="91390" rtlCol="0" anchor="t">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Source Code Control</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SCC)</a:t>
              </a:r>
            </a:p>
          </p:txBody>
        </p:sp>
        <p:sp>
          <p:nvSpPr>
            <p:cNvPr id="222" name="TextBox 221"/>
            <p:cNvSpPr txBox="1"/>
            <p:nvPr/>
          </p:nvSpPr>
          <p:spPr>
            <a:xfrm>
              <a:off x="889041" y="1428750"/>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pic>
          <p:nvPicPr>
            <p:cNvPr id="223" name="Picture 222"/>
            <p:cNvPicPr>
              <a:picLocks noChangeAspect="1"/>
            </p:cNvPicPr>
            <p:nvPr/>
          </p:nvPicPr>
          <p:blipFill>
            <a:blip r:embed="rId15"/>
            <a:stretch>
              <a:fillRect/>
            </a:stretch>
          </p:blipFill>
          <p:spPr>
            <a:xfrm>
              <a:off x="1671050" y="2532908"/>
              <a:ext cx="360364" cy="358071"/>
            </a:xfrm>
            <a:prstGeom prst="rect">
              <a:avLst/>
            </a:prstGeom>
          </p:spPr>
        </p:pic>
      </p:grpSp>
      <p:grpSp>
        <p:nvGrpSpPr>
          <p:cNvPr id="224" name="Group 223"/>
          <p:cNvGrpSpPr/>
          <p:nvPr/>
        </p:nvGrpSpPr>
        <p:grpSpPr>
          <a:xfrm>
            <a:off x="4935788" y="3124454"/>
            <a:ext cx="1560868" cy="1478514"/>
            <a:chOff x="4863724" y="3106743"/>
            <a:chExt cx="1560868" cy="1478514"/>
          </a:xfrm>
        </p:grpSpPr>
        <p:sp>
          <p:nvSpPr>
            <p:cNvPr id="225" name="Rounded Rectangle 12"/>
            <p:cNvSpPr/>
            <p:nvPr/>
          </p:nvSpPr>
          <p:spPr>
            <a:xfrm>
              <a:off x="4863724" y="3106743"/>
              <a:ext cx="1483698" cy="1478514"/>
            </a:xfrm>
            <a:prstGeom prst="roundRect">
              <a:avLst>
                <a:gd name="adj" fmla="val 5783"/>
              </a:avLst>
            </a:pr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226" name="Rectangle 225"/>
            <p:cNvSpPr/>
            <p:nvPr/>
          </p:nvSpPr>
          <p:spPr>
            <a:xfrm>
              <a:off x="5459227" y="3546106"/>
              <a:ext cx="965365"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Container Registry</a:t>
              </a:r>
            </a:p>
          </p:txBody>
        </p:sp>
      </p:grpSp>
      <p:pic>
        <p:nvPicPr>
          <p:cNvPr id="227" name="Picture 226"/>
          <p:cNvPicPr>
            <a:picLocks noChangeAspect="1"/>
          </p:cNvPicPr>
          <p:nvPr/>
        </p:nvPicPr>
        <p:blipFill>
          <a:blip r:embed="rId16"/>
          <a:stretch>
            <a:fillRect/>
          </a:stretch>
        </p:blipFill>
        <p:spPr>
          <a:xfrm>
            <a:off x="5083276" y="3670587"/>
            <a:ext cx="565903" cy="565903"/>
          </a:xfrm>
          <a:prstGeom prst="rect">
            <a:avLst/>
          </a:prstGeom>
        </p:spPr>
      </p:pic>
      <p:pic>
        <p:nvPicPr>
          <p:cNvPr id="228" name="Picture 4" descr="https://zapier.cachefly.net/storage/services/59152a3a91bfe0ddd2fc9b978448593a.128x128.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9704" t="22115" r="21627" b="23287"/>
          <a:stretch/>
        </p:blipFill>
        <p:spPr bwMode="auto">
          <a:xfrm>
            <a:off x="663976" y="1505210"/>
            <a:ext cx="293484" cy="273126"/>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4" descr="https://zapier.cachefly.net/storage/services/59152a3a91bfe0ddd2fc9b978448593a.128x128.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9704" t="22115" r="21627" b="23287"/>
          <a:stretch/>
        </p:blipFill>
        <p:spPr bwMode="auto">
          <a:xfrm>
            <a:off x="2851527" y="1505210"/>
            <a:ext cx="293484" cy="273126"/>
          </a:xfrm>
          <a:prstGeom prst="rect">
            <a:avLst/>
          </a:prstGeom>
          <a:noFill/>
          <a:extLst>
            <a:ext uri="{909E8E84-426E-40DD-AFC4-6F175D3DCCD1}">
              <a14:hiddenFill xmlns:a14="http://schemas.microsoft.com/office/drawing/2010/main">
                <a:solidFill>
                  <a:srgbClr val="FFFFFF"/>
                </a:solidFill>
              </a14:hiddenFill>
            </a:ext>
          </a:extLst>
        </p:spPr>
      </p:pic>
      <p:pic>
        <p:nvPicPr>
          <p:cNvPr id="230" name="Picture 10" descr="https://wiki.jenkins-ci.org/download/attachments/2916393/logo-title.png?version=1&amp;modificationDate=1302753947000"/>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r="72203"/>
          <a:stretch/>
        </p:blipFill>
        <p:spPr bwMode="auto">
          <a:xfrm>
            <a:off x="663487" y="2496747"/>
            <a:ext cx="349426" cy="404286"/>
          </a:xfrm>
          <a:prstGeom prst="rect">
            <a:avLst/>
          </a:prstGeom>
          <a:noFill/>
          <a:extLst>
            <a:ext uri="{909E8E84-426E-40DD-AFC4-6F175D3DCCD1}">
              <a14:hiddenFill xmlns:a14="http://schemas.microsoft.com/office/drawing/2010/main">
                <a:solidFill>
                  <a:srgbClr val="FFFFFF"/>
                </a:solidFill>
              </a14:hiddenFill>
            </a:ext>
          </a:extLst>
        </p:spPr>
      </p:pic>
      <p:pic>
        <p:nvPicPr>
          <p:cNvPr id="231" name="Picture 4" descr="https://zapier.cachefly.net/storage/services/59152a3a91bfe0ddd2fc9b978448593a.128x128.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9704" t="22115" r="21627" b="23287"/>
          <a:stretch/>
        </p:blipFill>
        <p:spPr bwMode="auto">
          <a:xfrm>
            <a:off x="5039078" y="1505210"/>
            <a:ext cx="293484" cy="273126"/>
          </a:xfrm>
          <a:prstGeom prst="rect">
            <a:avLst/>
          </a:prstGeom>
          <a:noFill/>
          <a:extLst>
            <a:ext uri="{909E8E84-426E-40DD-AFC4-6F175D3DCCD1}">
              <a14:hiddenFill xmlns:a14="http://schemas.microsoft.com/office/drawing/2010/main">
                <a:solidFill>
                  <a:srgbClr val="FFFFFF"/>
                </a:solidFill>
              </a14:hiddenFill>
            </a:ext>
          </a:extLst>
        </p:spPr>
      </p:pic>
      <p:sp>
        <p:nvSpPr>
          <p:cNvPr id="232" name="Rectangle 231"/>
          <p:cNvSpPr/>
          <p:nvPr/>
        </p:nvSpPr>
        <p:spPr>
          <a:xfrm>
            <a:off x="5526483" y="3406687"/>
            <a:ext cx="965365"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Azure</a:t>
            </a:r>
          </a:p>
        </p:txBody>
      </p:sp>
      <p:pic>
        <p:nvPicPr>
          <p:cNvPr id="233" name="Picture 4" descr="https://zapier.cachefly.net/storage/services/59152a3a91bfe0ddd2fc9b978448593a.128x128.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9704" t="22115" r="21627" b="23287"/>
          <a:stretch/>
        </p:blipFill>
        <p:spPr bwMode="auto">
          <a:xfrm>
            <a:off x="1362028" y="6201582"/>
            <a:ext cx="293484" cy="273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43593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33"/>
                                        </p:tgtEl>
                                        <p:attrNameLst>
                                          <p:attrName>style.visibility</p:attrName>
                                        </p:attrNameLst>
                                      </p:cBhvr>
                                      <p:to>
                                        <p:strVal val="visible"/>
                                      </p:to>
                                    </p:set>
                                    <p:animEffect transition="in" filter="fade">
                                      <p:cBhvr>
                                        <p:cTn id="7" dur="500"/>
                                        <p:tgtEl>
                                          <p:spTgt spid="23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28"/>
                                        </p:tgtEl>
                                        <p:attrNameLst>
                                          <p:attrName>style.visibility</p:attrName>
                                        </p:attrNameLst>
                                      </p:cBhvr>
                                      <p:to>
                                        <p:strVal val="visible"/>
                                      </p:to>
                                    </p:set>
                                    <p:animEffect transition="in" filter="fade">
                                      <p:cBhvr>
                                        <p:cTn id="11" dur="500"/>
                                        <p:tgtEl>
                                          <p:spTgt spid="22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30"/>
                                        </p:tgtEl>
                                        <p:attrNameLst>
                                          <p:attrName>style.visibility</p:attrName>
                                        </p:attrNameLst>
                                      </p:cBhvr>
                                      <p:to>
                                        <p:strVal val="visible"/>
                                      </p:to>
                                    </p:set>
                                    <p:animEffect transition="in" filter="fade">
                                      <p:cBhvr>
                                        <p:cTn id="15" dur="500"/>
                                        <p:tgtEl>
                                          <p:spTgt spid="23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29"/>
                                        </p:tgtEl>
                                        <p:attrNameLst>
                                          <p:attrName>style.visibility</p:attrName>
                                        </p:attrNameLst>
                                      </p:cBhvr>
                                      <p:to>
                                        <p:strVal val="visible"/>
                                      </p:to>
                                    </p:set>
                                    <p:animEffect transition="in" filter="fade">
                                      <p:cBhvr>
                                        <p:cTn id="19" dur="500"/>
                                        <p:tgtEl>
                                          <p:spTgt spid="229"/>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31"/>
                                        </p:tgtEl>
                                        <p:attrNameLst>
                                          <p:attrName>style.visibility</p:attrName>
                                        </p:attrNameLst>
                                      </p:cBhvr>
                                      <p:to>
                                        <p:strVal val="visible"/>
                                      </p:to>
                                    </p:set>
                                    <p:animEffect transition="in" filter="fade">
                                      <p:cBhvr>
                                        <p:cTn id="23" dur="500"/>
                                        <p:tgtEl>
                                          <p:spTgt spid="231"/>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32"/>
                                        </p:tgtEl>
                                        <p:attrNameLst>
                                          <p:attrName>style.visibility</p:attrName>
                                        </p:attrNameLst>
                                      </p:cBhvr>
                                      <p:to>
                                        <p:strVal val="visible"/>
                                      </p:to>
                                    </p:set>
                                    <p:animEffect transition="in" filter="fade">
                                      <p:cBhvr>
                                        <p:cTn id="27" dur="500"/>
                                        <p:tgtEl>
                                          <p:spTgt spid="232"/>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35"/>
                                        </p:tgtEl>
                                        <p:attrNameLst>
                                          <p:attrName>style.visibility</p:attrName>
                                        </p:attrNameLst>
                                      </p:cBhvr>
                                      <p:to>
                                        <p:strVal val="visible"/>
                                      </p:to>
                                    </p:set>
                                    <p:animEffect transition="in" filter="fade">
                                      <p:cBhvr>
                                        <p:cTn id="31" dur="500"/>
                                        <p:tgtEl>
                                          <p:spTgt spid="135"/>
                                        </p:tgtEl>
                                      </p:cBhvr>
                                    </p:animEffect>
                                  </p:childTnLst>
                                </p:cTn>
                              </p:par>
                              <p:par>
                                <p:cTn id="32" presetID="10" presetClass="entr" presetSubtype="0" fill="hold" nodeType="withEffect">
                                  <p:stCondLst>
                                    <p:cond delay="0"/>
                                  </p:stCondLst>
                                  <p:childTnLst>
                                    <p:set>
                                      <p:cBhvr>
                                        <p:cTn id="33" dur="1" fill="hold">
                                          <p:stCondLst>
                                            <p:cond delay="0"/>
                                          </p:stCondLst>
                                        </p:cTn>
                                        <p:tgtEl>
                                          <p:spTgt spid="140"/>
                                        </p:tgtEl>
                                        <p:attrNameLst>
                                          <p:attrName>style.visibility</p:attrName>
                                        </p:attrNameLst>
                                      </p:cBhvr>
                                      <p:to>
                                        <p:strVal val="visible"/>
                                      </p:to>
                                    </p:set>
                                    <p:animEffect transition="in" filter="fade">
                                      <p:cBhvr>
                                        <p:cTn id="34" dur="500"/>
                                        <p:tgtEl>
                                          <p:spTgt spid="140"/>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141"/>
                                        </p:tgtEl>
                                        <p:attrNameLst>
                                          <p:attrName>style.visibility</p:attrName>
                                        </p:attrNameLst>
                                      </p:cBhvr>
                                      <p:to>
                                        <p:strVal val="visible"/>
                                      </p:to>
                                    </p:set>
                                    <p:animEffect transition="in" filter="fade">
                                      <p:cBhvr>
                                        <p:cTn id="38" dur="500"/>
                                        <p:tgtEl>
                                          <p:spTgt spid="14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36"/>
                                        </p:tgtEl>
                                        <p:attrNameLst>
                                          <p:attrName>style.visibility</p:attrName>
                                        </p:attrNameLst>
                                      </p:cBhvr>
                                      <p:to>
                                        <p:strVal val="visible"/>
                                      </p:to>
                                    </p:set>
                                    <p:animEffect transition="in" filter="fade">
                                      <p:cBhvr>
                                        <p:cTn id="41" dur="500"/>
                                        <p:tgtEl>
                                          <p:spTgt spid="136"/>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37"/>
                                        </p:tgtEl>
                                        <p:attrNameLst>
                                          <p:attrName>style.visibility</p:attrName>
                                        </p:attrNameLst>
                                      </p:cBhvr>
                                      <p:to>
                                        <p:strVal val="visible"/>
                                      </p:to>
                                    </p:set>
                                    <p:animEffect transition="in" filter="fade">
                                      <p:cBhvr>
                                        <p:cTn id="44" dur="500"/>
                                        <p:tgtEl>
                                          <p:spTgt spid="137"/>
                                        </p:tgtEl>
                                      </p:cBhvr>
                                    </p:animEffect>
                                  </p:childTnLst>
                                </p:cTn>
                              </p:par>
                            </p:childTnLst>
                          </p:cTn>
                        </p:par>
                        <p:par>
                          <p:cTn id="45" fill="hold">
                            <p:stCondLst>
                              <p:cond delay="4000"/>
                            </p:stCondLst>
                            <p:childTnLst>
                              <p:par>
                                <p:cTn id="46" presetID="10" presetClass="entr" presetSubtype="0" fill="hold" nodeType="afterEffect">
                                  <p:stCondLst>
                                    <p:cond delay="0"/>
                                  </p:stCondLst>
                                  <p:childTnLst>
                                    <p:set>
                                      <p:cBhvr>
                                        <p:cTn id="47" dur="1" fill="hold">
                                          <p:stCondLst>
                                            <p:cond delay="0"/>
                                          </p:stCondLst>
                                        </p:cTn>
                                        <p:tgtEl>
                                          <p:spTgt spid="142"/>
                                        </p:tgtEl>
                                        <p:attrNameLst>
                                          <p:attrName>style.visibility</p:attrName>
                                        </p:attrNameLst>
                                      </p:cBhvr>
                                      <p:to>
                                        <p:strVal val="visible"/>
                                      </p:to>
                                    </p:set>
                                    <p:animEffect transition="in" filter="fade">
                                      <p:cBhvr>
                                        <p:cTn id="48" dur="500"/>
                                        <p:tgtEl>
                                          <p:spTgt spid="14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38"/>
                                        </p:tgtEl>
                                        <p:attrNameLst>
                                          <p:attrName>style.visibility</p:attrName>
                                        </p:attrNameLst>
                                      </p:cBhvr>
                                      <p:to>
                                        <p:strVal val="visible"/>
                                      </p:to>
                                    </p:set>
                                    <p:animEffect transition="in" filter="fade">
                                      <p:cBhvr>
                                        <p:cTn id="51" dur="500"/>
                                        <p:tgtEl>
                                          <p:spTgt spid="138"/>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39"/>
                                        </p:tgtEl>
                                        <p:attrNameLst>
                                          <p:attrName>style.visibility</p:attrName>
                                        </p:attrNameLst>
                                      </p:cBhvr>
                                      <p:to>
                                        <p:strVal val="visible"/>
                                      </p:to>
                                    </p:set>
                                    <p:animEffect transition="in" filter="fade">
                                      <p:cBhvr>
                                        <p:cTn id="54" dur="500"/>
                                        <p:tgtEl>
                                          <p:spTgt spid="1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 grpId="0" animBg="1"/>
      <p:bldP spid="136" grpId="0" animBg="1"/>
      <p:bldP spid="137" grpId="0" animBg="1"/>
      <p:bldP spid="138" grpId="0" animBg="1"/>
      <p:bldP spid="139" grpId="0" animBg="1"/>
      <p:bldP spid="23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a:xfrm>
            <a:off x="140061" y="236860"/>
            <a:ext cx="11507442" cy="989769"/>
          </a:xfrm>
        </p:spPr>
        <p:txBody>
          <a:bodyPr/>
          <a:lstStyle/>
          <a:p>
            <a:r>
              <a:rPr lang="en-US">
                <a:solidFill>
                  <a:schemeClr val="accent3"/>
                </a:solidFill>
              </a:rPr>
              <a:t>Containerized workflow pipeline with AKS/SF</a:t>
            </a:r>
            <a:endParaRPr lang="en-US"/>
          </a:p>
        </p:txBody>
      </p:sp>
      <p:sp>
        <p:nvSpPr>
          <p:cNvPr id="128" name="Rectangle 127"/>
          <p:cNvSpPr/>
          <p:nvPr/>
        </p:nvSpPr>
        <p:spPr>
          <a:xfrm>
            <a:off x="9540617" y="97772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29" name="Rectangle 128"/>
          <p:cNvSpPr/>
          <p:nvPr/>
        </p:nvSpPr>
        <p:spPr>
          <a:xfrm>
            <a:off x="9540617" y="161086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0" name="Rectangle 129"/>
          <p:cNvSpPr/>
          <p:nvPr/>
        </p:nvSpPr>
        <p:spPr>
          <a:xfrm>
            <a:off x="9565999" y="2244009"/>
            <a:ext cx="2538168"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1" name="Rectangle 130"/>
          <p:cNvSpPr/>
          <p:nvPr/>
        </p:nvSpPr>
        <p:spPr>
          <a:xfrm>
            <a:off x="9540617" y="287714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2" name="Rectangle 131"/>
          <p:cNvSpPr/>
          <p:nvPr/>
        </p:nvSpPr>
        <p:spPr>
          <a:xfrm>
            <a:off x="9540617" y="351028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3" name="Rectangle 132"/>
          <p:cNvSpPr/>
          <p:nvPr/>
        </p:nvSpPr>
        <p:spPr>
          <a:xfrm>
            <a:off x="9540617" y="4776567"/>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4" name="Rectangle 133"/>
          <p:cNvSpPr/>
          <p:nvPr/>
        </p:nvSpPr>
        <p:spPr>
          <a:xfrm>
            <a:off x="9540617" y="414342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sp>
        <p:nvSpPr>
          <p:cNvPr id="135" name="Rectangle 134"/>
          <p:cNvSpPr/>
          <p:nvPr/>
        </p:nvSpPr>
        <p:spPr>
          <a:xfrm>
            <a:off x="9540617" y="97772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lvl="0" algn="ctr" defTabSz="896386">
              <a:defRPr/>
            </a:pPr>
            <a:r>
              <a:rPr lang="en-US" sz="1600" kern="0">
                <a:solidFill>
                  <a:prstClr val="white"/>
                </a:solidFill>
              </a:rPr>
              <a:t>Azure Kubernetes Service</a:t>
            </a:r>
            <a:endParaRPr kumimoji="0" lang="en-US" sz="1600" u="none" strike="noStrike" kern="0" cap="none" spc="0" normalizeH="0" baseline="0" noProof="0">
              <a:ln>
                <a:noFill/>
              </a:ln>
              <a:solidFill>
                <a:prstClr val="white"/>
              </a:solidFill>
              <a:effectLst/>
              <a:uLnTx/>
              <a:uFillTx/>
              <a:latin typeface="+mj-lt"/>
              <a:ea typeface="+mn-ea"/>
              <a:cs typeface="+mn-cs"/>
            </a:endParaRPr>
          </a:p>
        </p:txBody>
      </p:sp>
      <p:sp>
        <p:nvSpPr>
          <p:cNvPr id="136" name="Rectangle 135"/>
          <p:cNvSpPr/>
          <p:nvPr/>
        </p:nvSpPr>
        <p:spPr>
          <a:xfrm>
            <a:off x="9540617" y="161086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lang="en-US" sz="1600" kern="0">
                <a:solidFill>
                  <a:prstClr val="white"/>
                </a:solidFill>
              </a:rPr>
              <a:t>Service Fabric</a:t>
            </a:r>
          </a:p>
        </p:txBody>
      </p:sp>
      <p:sp>
        <p:nvSpPr>
          <p:cNvPr id="137" name="Rectangle 136"/>
          <p:cNvSpPr/>
          <p:nvPr/>
        </p:nvSpPr>
        <p:spPr>
          <a:xfrm>
            <a:off x="9565999" y="2244009"/>
            <a:ext cx="2538168"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pp Services</a:t>
            </a:r>
          </a:p>
        </p:txBody>
      </p:sp>
      <p:sp>
        <p:nvSpPr>
          <p:cNvPr id="138" name="Rectangle 137"/>
          <p:cNvSpPr/>
          <p:nvPr/>
        </p:nvSpPr>
        <p:spPr>
          <a:xfrm>
            <a:off x="9540617" y="287714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Future Services</a:t>
            </a:r>
          </a:p>
        </p:txBody>
      </p:sp>
      <p:sp>
        <p:nvSpPr>
          <p:cNvPr id="139" name="Rectangle 138"/>
          <p:cNvSpPr/>
          <p:nvPr/>
        </p:nvSpPr>
        <p:spPr>
          <a:xfrm>
            <a:off x="9540617" y="3510289"/>
            <a:ext cx="2563550" cy="621314"/>
          </a:xfrm>
          <a:prstGeom prst="rect">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640080" tIns="0" rIns="0" bIns="0" numCol="1" spcCol="0" rtlCol="0" fromWordArt="0" anchor="ctr"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mn-ea"/>
                <a:cs typeface="+mn-cs"/>
              </a:rPr>
              <a:t>…</a:t>
            </a:r>
          </a:p>
        </p:txBody>
      </p:sp>
      <p:pic>
        <p:nvPicPr>
          <p:cNvPr id="140" name="Picture 139"/>
          <p:cNvPicPr>
            <a:picLocks noChangeAspect="1"/>
          </p:cNvPicPr>
          <p:nvPr/>
        </p:nvPicPr>
        <p:blipFill>
          <a:blip r:embed="rId3"/>
          <a:stretch>
            <a:fillRect/>
          </a:stretch>
        </p:blipFill>
        <p:spPr>
          <a:xfrm>
            <a:off x="9601998" y="1023366"/>
            <a:ext cx="650738" cy="495720"/>
          </a:xfrm>
          <a:prstGeom prst="rect">
            <a:avLst/>
          </a:prstGeom>
        </p:spPr>
      </p:pic>
      <p:pic>
        <p:nvPicPr>
          <p:cNvPr id="141" name="Picture 140"/>
          <p:cNvPicPr>
            <a:picLocks noChangeAspect="1"/>
          </p:cNvPicPr>
          <p:nvPr/>
        </p:nvPicPr>
        <p:blipFill>
          <a:blip r:embed="rId4"/>
          <a:stretch>
            <a:fillRect/>
          </a:stretch>
        </p:blipFill>
        <p:spPr>
          <a:xfrm>
            <a:off x="9679698" y="1673666"/>
            <a:ext cx="495338" cy="495720"/>
          </a:xfrm>
          <a:prstGeom prst="rect">
            <a:avLst/>
          </a:prstGeom>
        </p:spPr>
      </p:pic>
      <p:pic>
        <p:nvPicPr>
          <p:cNvPr id="142" name="Picture 141"/>
          <p:cNvPicPr>
            <a:picLocks noChangeAspect="1"/>
          </p:cNvPicPr>
          <p:nvPr/>
        </p:nvPicPr>
        <p:blipFill>
          <a:blip r:embed="rId5"/>
          <a:stretch>
            <a:fillRect/>
          </a:stretch>
        </p:blipFill>
        <p:spPr>
          <a:xfrm>
            <a:off x="9679699" y="2318658"/>
            <a:ext cx="495337" cy="495720"/>
          </a:xfrm>
          <a:prstGeom prst="rect">
            <a:avLst/>
          </a:prstGeom>
        </p:spPr>
      </p:pic>
      <p:sp>
        <p:nvSpPr>
          <p:cNvPr id="143" name="Right Arrow 5"/>
          <p:cNvSpPr/>
          <p:nvPr/>
        </p:nvSpPr>
        <p:spPr>
          <a:xfrm>
            <a:off x="883597" y="1713540"/>
            <a:ext cx="2675212" cy="944040"/>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pic>
        <p:nvPicPr>
          <p:cNvPr id="144" name="Picture 143"/>
          <p:cNvPicPr>
            <a:picLocks noChangeAspect="1"/>
          </p:cNvPicPr>
          <p:nvPr/>
        </p:nvPicPr>
        <p:blipFill>
          <a:blip r:embed="rId6">
            <a:duotone>
              <a:prstClr val="black"/>
              <a:schemeClr val="tx2">
                <a:tint val="45000"/>
                <a:satMod val="400000"/>
              </a:schemeClr>
            </a:duotone>
          </a:blip>
          <a:stretch>
            <a:fillRect/>
          </a:stretch>
        </p:blipFill>
        <p:spPr>
          <a:xfrm>
            <a:off x="1484104" y="1831154"/>
            <a:ext cx="599890" cy="625597"/>
          </a:xfrm>
          <a:prstGeom prst="rect">
            <a:avLst/>
          </a:prstGeom>
        </p:spPr>
      </p:pic>
      <p:cxnSp>
        <p:nvCxnSpPr>
          <p:cNvPr id="145" name="Straight Arrow Connector 144"/>
          <p:cNvCxnSpPr>
            <a:cxnSpLocks/>
          </p:cNvCxnSpPr>
          <p:nvPr/>
        </p:nvCxnSpPr>
        <p:spPr>
          <a:xfrm>
            <a:off x="4207957" y="2848274"/>
            <a:ext cx="787110" cy="669973"/>
          </a:xfrm>
          <a:prstGeom prst="straightConnector1">
            <a:avLst/>
          </a:prstGeom>
          <a:ln w="76200">
            <a:solidFill>
              <a:srgbClr val="89CBFF"/>
            </a:solidFill>
            <a:headEnd type="triangle" w="med" len="lg"/>
            <a:tailEnd type="triangle" w="med" len="lg"/>
          </a:ln>
        </p:spPr>
        <p:style>
          <a:lnRef idx="1">
            <a:schemeClr val="accent1"/>
          </a:lnRef>
          <a:fillRef idx="0">
            <a:schemeClr val="accent1"/>
          </a:fillRef>
          <a:effectRef idx="0">
            <a:schemeClr val="accent1"/>
          </a:effectRef>
          <a:fontRef idx="minor">
            <a:schemeClr val="tx1"/>
          </a:fontRef>
        </p:style>
      </p:cxnSp>
      <p:grpSp>
        <p:nvGrpSpPr>
          <p:cNvPr id="146" name="Group 145"/>
          <p:cNvGrpSpPr/>
          <p:nvPr/>
        </p:nvGrpSpPr>
        <p:grpSpPr>
          <a:xfrm>
            <a:off x="3682670" y="2575943"/>
            <a:ext cx="532409" cy="311380"/>
            <a:chOff x="4227749" y="3121751"/>
            <a:chExt cx="532409" cy="311380"/>
          </a:xfrm>
        </p:grpSpPr>
        <p:grpSp>
          <p:nvGrpSpPr>
            <p:cNvPr id="147" name="Group 146"/>
            <p:cNvGrpSpPr>
              <a:grpSpLocks noChangeAspect="1"/>
            </p:cNvGrpSpPr>
            <p:nvPr/>
          </p:nvGrpSpPr>
          <p:grpSpPr>
            <a:xfrm>
              <a:off x="4227749" y="3180454"/>
              <a:ext cx="450741" cy="252677"/>
              <a:chOff x="3523102" y="1791568"/>
              <a:chExt cx="6746733" cy="3782104"/>
            </a:xfrm>
            <a:solidFill>
              <a:srgbClr val="002060"/>
            </a:solidFill>
          </p:grpSpPr>
          <p:sp>
            <p:nvSpPr>
              <p:cNvPr id="149" name="Rectangle 148"/>
              <p:cNvSpPr/>
              <p:nvPr/>
            </p:nvSpPr>
            <p:spPr>
              <a:xfrm>
                <a:off x="3757139" y="2148421"/>
                <a:ext cx="6278658" cy="30683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65" u="none" strike="noStrike" kern="0" cap="none" spc="0" normalizeH="0" baseline="0" noProof="0">
                  <a:ln>
                    <a:noFill/>
                  </a:ln>
                  <a:solidFill>
                    <a:sysClr val="windowText" lastClr="000000"/>
                  </a:solidFill>
                  <a:effectLst/>
                  <a:uLnTx/>
                  <a:uFillTx/>
                  <a:latin typeface="+mj-lt"/>
                  <a:ea typeface="+mn-ea"/>
                  <a:cs typeface="+mn-cs"/>
                </a:endParaRPr>
              </a:p>
            </p:txBody>
          </p:sp>
          <p:sp>
            <p:nvSpPr>
              <p:cNvPr id="150" name="Freeform 73"/>
              <p:cNvSpPr/>
              <p:nvPr/>
            </p:nvSpPr>
            <p:spPr>
              <a:xfrm>
                <a:off x="3523102"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65" u="none" strike="noStrike" kern="0" cap="none" spc="0" normalizeH="0" baseline="0" noProof="0">
                  <a:ln>
                    <a:noFill/>
                  </a:ln>
                  <a:solidFill>
                    <a:sysClr val="windowText" lastClr="000000"/>
                  </a:solidFill>
                  <a:effectLst/>
                  <a:uLnTx/>
                  <a:uFillTx/>
                  <a:latin typeface="+mj-lt"/>
                  <a:ea typeface="+mn-ea"/>
                  <a:cs typeface="+mn-cs"/>
                </a:endParaRPr>
              </a:p>
            </p:txBody>
          </p:sp>
          <p:sp>
            <p:nvSpPr>
              <p:cNvPr id="151" name="Freeform 74"/>
              <p:cNvSpPr/>
              <p:nvPr/>
            </p:nvSpPr>
            <p:spPr>
              <a:xfrm flipH="1">
                <a:off x="9715928" y="1791568"/>
                <a:ext cx="553907" cy="3782104"/>
              </a:xfrm>
              <a:custGeom>
                <a:avLst/>
                <a:gdLst>
                  <a:gd name="connsiteX0" fmla="*/ 104335 w 553907"/>
                  <a:gd name="connsiteY0" fmla="*/ 0 h 3782104"/>
                  <a:gd name="connsiteX1" fmla="*/ 553907 w 553907"/>
                  <a:gd name="connsiteY1" fmla="*/ 0 h 3782104"/>
                  <a:gd name="connsiteX2" fmla="*/ 553907 w 553907"/>
                  <a:gd name="connsiteY2" fmla="*/ 285720 h 3782104"/>
                  <a:gd name="connsiteX3" fmla="*/ 156511 w 553907"/>
                  <a:gd name="connsiteY3" fmla="*/ 285720 h 3782104"/>
                  <a:gd name="connsiteX4" fmla="*/ 156511 w 553907"/>
                  <a:gd name="connsiteY4" fmla="*/ 3496384 h 3782104"/>
                  <a:gd name="connsiteX5" fmla="*/ 553907 w 553907"/>
                  <a:gd name="connsiteY5" fmla="*/ 3496384 h 3782104"/>
                  <a:gd name="connsiteX6" fmla="*/ 553907 w 553907"/>
                  <a:gd name="connsiteY6" fmla="*/ 3782104 h 3782104"/>
                  <a:gd name="connsiteX7" fmla="*/ 104335 w 553907"/>
                  <a:gd name="connsiteY7" fmla="*/ 3782104 h 3782104"/>
                  <a:gd name="connsiteX8" fmla="*/ 104335 w 553907"/>
                  <a:gd name="connsiteY8" fmla="*/ 3610684 h 3782104"/>
                  <a:gd name="connsiteX9" fmla="*/ 0 w 553907"/>
                  <a:gd name="connsiteY9" fmla="*/ 3610684 h 3782104"/>
                  <a:gd name="connsiteX10" fmla="*/ 0 w 553907"/>
                  <a:gd name="connsiteY10" fmla="*/ 175571 h 3782104"/>
                  <a:gd name="connsiteX11" fmla="*/ 104335 w 553907"/>
                  <a:gd name="connsiteY11" fmla="*/ 175571 h 378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907" h="3782104">
                    <a:moveTo>
                      <a:pt x="104335" y="0"/>
                    </a:moveTo>
                    <a:lnTo>
                      <a:pt x="553907" y="0"/>
                    </a:lnTo>
                    <a:lnTo>
                      <a:pt x="553907" y="285720"/>
                    </a:lnTo>
                    <a:lnTo>
                      <a:pt x="156511" y="285720"/>
                    </a:lnTo>
                    <a:lnTo>
                      <a:pt x="156511" y="3496384"/>
                    </a:lnTo>
                    <a:lnTo>
                      <a:pt x="553907" y="3496384"/>
                    </a:lnTo>
                    <a:lnTo>
                      <a:pt x="553907" y="3782104"/>
                    </a:lnTo>
                    <a:lnTo>
                      <a:pt x="104335" y="3782104"/>
                    </a:lnTo>
                    <a:lnTo>
                      <a:pt x="104335" y="3610684"/>
                    </a:lnTo>
                    <a:lnTo>
                      <a:pt x="0" y="3610684"/>
                    </a:lnTo>
                    <a:lnTo>
                      <a:pt x="0" y="175571"/>
                    </a:lnTo>
                    <a:lnTo>
                      <a:pt x="104335" y="17557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765" u="none" strike="noStrike" kern="0" cap="none" spc="0" normalizeH="0" baseline="0" noProof="0">
                  <a:ln>
                    <a:noFill/>
                  </a:ln>
                  <a:solidFill>
                    <a:sysClr val="windowText" lastClr="000000"/>
                  </a:solidFill>
                  <a:effectLst/>
                  <a:uLnTx/>
                  <a:uFillTx/>
                  <a:latin typeface="+mj-lt"/>
                  <a:ea typeface="+mn-ea"/>
                  <a:cs typeface="+mn-cs"/>
                </a:endParaRPr>
              </a:p>
            </p:txBody>
          </p:sp>
        </p:grpSp>
        <p:pic>
          <p:nvPicPr>
            <p:cNvPr id="148" name="Picture 147"/>
            <p:cNvPicPr>
              <a:picLocks noChangeAspect="1"/>
            </p:cNvPicPr>
            <p:nvPr/>
          </p:nvPicPr>
          <p:blipFill>
            <a:blip r:embed="rId7"/>
            <a:stretch>
              <a:fillRect/>
            </a:stretch>
          </p:blipFill>
          <p:spPr>
            <a:xfrm>
              <a:off x="4271287" y="3121751"/>
              <a:ext cx="488871" cy="273622"/>
            </a:xfrm>
            <a:prstGeom prst="rect">
              <a:avLst/>
            </a:prstGeom>
          </p:spPr>
        </p:pic>
      </p:grpSp>
      <p:sp>
        <p:nvSpPr>
          <p:cNvPr id="152" name="Right Arrow 5"/>
          <p:cNvSpPr/>
          <p:nvPr/>
        </p:nvSpPr>
        <p:spPr>
          <a:xfrm>
            <a:off x="3029326" y="1713540"/>
            <a:ext cx="2675212" cy="944040"/>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grpSp>
        <p:nvGrpSpPr>
          <p:cNvPr id="153" name="Group 152"/>
          <p:cNvGrpSpPr/>
          <p:nvPr/>
        </p:nvGrpSpPr>
        <p:grpSpPr>
          <a:xfrm>
            <a:off x="2777875" y="1412218"/>
            <a:ext cx="1483698" cy="1527326"/>
            <a:chOff x="2777875" y="1412218"/>
            <a:chExt cx="1483698" cy="1527326"/>
          </a:xfrm>
        </p:grpSpPr>
        <p:sp>
          <p:nvSpPr>
            <p:cNvPr id="154" name="Rounded Rectangle 12"/>
            <p:cNvSpPr/>
            <p:nvPr/>
          </p:nvSpPr>
          <p:spPr>
            <a:xfrm>
              <a:off x="2777875"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155" name="TextBox 154"/>
            <p:cNvSpPr txBox="1"/>
            <p:nvPr/>
          </p:nvSpPr>
          <p:spPr>
            <a:xfrm>
              <a:off x="2825969" y="1794022"/>
              <a:ext cx="1387510" cy="899200"/>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Build/CI,</a:t>
              </a:r>
            </a:p>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Integrate,</a:t>
              </a:r>
            </a:p>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Test</a:t>
              </a:r>
            </a:p>
          </p:txBody>
        </p:sp>
        <p:sp>
          <p:nvSpPr>
            <p:cNvPr id="156" name="TextBox 155"/>
            <p:cNvSpPr txBox="1"/>
            <p:nvPr/>
          </p:nvSpPr>
          <p:spPr>
            <a:xfrm>
              <a:off x="3081795" y="1412218"/>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grpSp>
      <p:sp>
        <p:nvSpPr>
          <p:cNvPr id="157" name="Right Arrow 5"/>
          <p:cNvSpPr/>
          <p:nvPr/>
        </p:nvSpPr>
        <p:spPr>
          <a:xfrm rot="16200000">
            <a:off x="377902" y="3360505"/>
            <a:ext cx="1914090" cy="944040"/>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pic>
        <p:nvPicPr>
          <p:cNvPr id="158" name="Picture 157"/>
          <p:cNvPicPr>
            <a:picLocks noChangeAspect="1"/>
          </p:cNvPicPr>
          <p:nvPr/>
        </p:nvPicPr>
        <p:blipFill>
          <a:blip r:embed="rId6">
            <a:duotone>
              <a:prstClr val="black"/>
              <a:schemeClr val="tx2">
                <a:tint val="45000"/>
                <a:satMod val="400000"/>
              </a:schemeClr>
            </a:duotone>
          </a:blip>
          <a:stretch>
            <a:fillRect/>
          </a:stretch>
        </p:blipFill>
        <p:spPr>
          <a:xfrm>
            <a:off x="1080222" y="4804975"/>
            <a:ext cx="599890" cy="625597"/>
          </a:xfrm>
          <a:prstGeom prst="rect">
            <a:avLst/>
          </a:prstGeom>
        </p:spPr>
      </p:pic>
      <p:grpSp>
        <p:nvGrpSpPr>
          <p:cNvPr id="159" name="Group 158"/>
          <p:cNvGrpSpPr/>
          <p:nvPr/>
        </p:nvGrpSpPr>
        <p:grpSpPr>
          <a:xfrm>
            <a:off x="252964" y="4780912"/>
            <a:ext cx="2621099" cy="1786754"/>
            <a:chOff x="252964" y="4780912"/>
            <a:chExt cx="2621099" cy="1786754"/>
          </a:xfrm>
        </p:grpSpPr>
        <p:sp>
          <p:nvSpPr>
            <p:cNvPr id="160" name="Rounded Rectangle 11"/>
            <p:cNvSpPr/>
            <p:nvPr/>
          </p:nvSpPr>
          <p:spPr>
            <a:xfrm>
              <a:off x="300269" y="4780912"/>
              <a:ext cx="2573794" cy="178675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grpSp>
          <p:nvGrpSpPr>
            <p:cNvPr id="161" name="Group 160"/>
            <p:cNvGrpSpPr/>
            <p:nvPr/>
          </p:nvGrpSpPr>
          <p:grpSpPr>
            <a:xfrm>
              <a:off x="1756065" y="5902498"/>
              <a:ext cx="658373" cy="378242"/>
              <a:chOff x="2195243" y="5902498"/>
              <a:chExt cx="658373" cy="378242"/>
            </a:xfrm>
          </p:grpSpPr>
          <p:sp>
            <p:nvSpPr>
              <p:cNvPr id="172" name="Rectangle 30"/>
              <p:cNvSpPr>
                <a:spLocks noChangeArrowheads="1"/>
              </p:cNvSpPr>
              <p:nvPr/>
            </p:nvSpPr>
            <p:spPr bwMode="auto">
              <a:xfrm>
                <a:off x="2273989" y="5902498"/>
                <a:ext cx="509916"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3" name="Oval 31"/>
              <p:cNvSpPr>
                <a:spLocks noChangeArrowheads="1"/>
              </p:cNvSpPr>
              <p:nvPr/>
            </p:nvSpPr>
            <p:spPr bwMode="auto">
              <a:xfrm>
                <a:off x="2524429"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4" name="Rectangle 32"/>
              <p:cNvSpPr>
                <a:spLocks noChangeArrowheads="1"/>
              </p:cNvSpPr>
              <p:nvPr/>
            </p:nvSpPr>
            <p:spPr bwMode="auto">
              <a:xfrm>
                <a:off x="2292062" y="5929607"/>
                <a:ext cx="475061"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5" name="Freeform 33"/>
              <p:cNvSpPr>
                <a:spLocks/>
              </p:cNvSpPr>
              <p:nvPr/>
            </p:nvSpPr>
            <p:spPr bwMode="auto">
              <a:xfrm>
                <a:off x="2195243" y="6254921"/>
                <a:ext cx="658373" cy="25819"/>
              </a:xfrm>
              <a:custGeom>
                <a:avLst/>
                <a:gdLst>
                  <a:gd name="T0" fmla="*/ 0 w 449"/>
                  <a:gd name="T1" fmla="*/ 0 h 18"/>
                  <a:gd name="T2" fmla="*/ 0 w 449"/>
                  <a:gd name="T3" fmla="*/ 1 h 18"/>
                  <a:gd name="T4" fmla="*/ 17 w 449"/>
                  <a:gd name="T5" fmla="*/ 18 h 18"/>
                  <a:gd name="T6" fmla="*/ 433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8" y="18"/>
                      <a:pt x="17" y="18"/>
                    </a:cubicBezTo>
                    <a:cubicBezTo>
                      <a:pt x="433" y="18"/>
                      <a:pt x="433" y="18"/>
                      <a:pt x="433" y="18"/>
                    </a:cubicBezTo>
                    <a:cubicBezTo>
                      <a:pt x="442"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6" name="Freeform 38"/>
              <p:cNvSpPr>
                <a:spLocks/>
              </p:cNvSpPr>
              <p:nvPr/>
            </p:nvSpPr>
            <p:spPr bwMode="auto">
              <a:xfrm>
                <a:off x="2440519" y="6016100"/>
                <a:ext cx="171693" cy="153621"/>
              </a:xfrm>
              <a:custGeom>
                <a:avLst/>
                <a:gdLst>
                  <a:gd name="T0" fmla="*/ 99 w 117"/>
                  <a:gd name="T1" fmla="*/ 40 h 105"/>
                  <a:gd name="T2" fmla="*/ 114 w 117"/>
                  <a:gd name="T3" fmla="*/ 14 h 105"/>
                  <a:gd name="T4" fmla="*/ 89 w 117"/>
                  <a:gd name="T5" fmla="*/ 1 h 105"/>
                  <a:gd name="T6" fmla="*/ 63 w 117"/>
                  <a:gd name="T7" fmla="*/ 7 h 105"/>
                  <a:gd name="T8" fmla="*/ 40 w 117"/>
                  <a:gd name="T9" fmla="*/ 1 h 105"/>
                  <a:gd name="T10" fmla="*/ 12 w 117"/>
                  <a:gd name="T11" fmla="*/ 18 h 105"/>
                  <a:gd name="T12" fmla="*/ 20 w 117"/>
                  <a:gd name="T13" fmla="*/ 87 h 105"/>
                  <a:gd name="T14" fmla="*/ 42 w 117"/>
                  <a:gd name="T15" fmla="*/ 105 h 105"/>
                  <a:gd name="T16" fmla="*/ 64 w 117"/>
                  <a:gd name="T17" fmla="*/ 99 h 105"/>
                  <a:gd name="T18" fmla="*/ 87 w 117"/>
                  <a:gd name="T19" fmla="*/ 104 h 105"/>
                  <a:gd name="T20" fmla="*/ 108 w 117"/>
                  <a:gd name="T21" fmla="*/ 88 h 105"/>
                  <a:gd name="T22" fmla="*/ 117 w 117"/>
                  <a:gd name="T23" fmla="*/ 68 h 105"/>
                  <a:gd name="T24" fmla="*/ 99 w 117"/>
                  <a:gd name="T25" fmla="*/ 4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05">
                    <a:moveTo>
                      <a:pt x="99" y="40"/>
                    </a:moveTo>
                    <a:cubicBezTo>
                      <a:pt x="99" y="23"/>
                      <a:pt x="113" y="15"/>
                      <a:pt x="114" y="14"/>
                    </a:cubicBezTo>
                    <a:cubicBezTo>
                      <a:pt x="106" y="3"/>
                      <a:pt x="93" y="1"/>
                      <a:pt x="89" y="1"/>
                    </a:cubicBezTo>
                    <a:cubicBezTo>
                      <a:pt x="78" y="0"/>
                      <a:pt x="68" y="7"/>
                      <a:pt x="63" y="7"/>
                    </a:cubicBezTo>
                    <a:cubicBezTo>
                      <a:pt x="57" y="7"/>
                      <a:pt x="49" y="1"/>
                      <a:pt x="40" y="1"/>
                    </a:cubicBezTo>
                    <a:cubicBezTo>
                      <a:pt x="28" y="1"/>
                      <a:pt x="18" y="8"/>
                      <a:pt x="12" y="18"/>
                    </a:cubicBezTo>
                    <a:cubicBezTo>
                      <a:pt x="0" y="39"/>
                      <a:pt x="9" y="70"/>
                      <a:pt x="20" y="87"/>
                    </a:cubicBezTo>
                    <a:cubicBezTo>
                      <a:pt x="26" y="96"/>
                      <a:pt x="33" y="105"/>
                      <a:pt x="42" y="105"/>
                    </a:cubicBezTo>
                    <a:cubicBezTo>
                      <a:pt x="51" y="104"/>
                      <a:pt x="54" y="99"/>
                      <a:pt x="64" y="99"/>
                    </a:cubicBezTo>
                    <a:cubicBezTo>
                      <a:pt x="75" y="99"/>
                      <a:pt x="78" y="105"/>
                      <a:pt x="87" y="104"/>
                    </a:cubicBezTo>
                    <a:cubicBezTo>
                      <a:pt x="96" y="104"/>
                      <a:pt x="102" y="96"/>
                      <a:pt x="108" y="88"/>
                    </a:cubicBezTo>
                    <a:cubicBezTo>
                      <a:pt x="115" y="78"/>
                      <a:pt x="117" y="69"/>
                      <a:pt x="117" y="68"/>
                    </a:cubicBezTo>
                    <a:cubicBezTo>
                      <a:pt x="117" y="68"/>
                      <a:pt x="99" y="61"/>
                      <a:pt x="99"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7" name="Freeform 39"/>
              <p:cNvSpPr>
                <a:spLocks/>
              </p:cNvSpPr>
              <p:nvPr/>
            </p:nvSpPr>
            <p:spPr bwMode="auto">
              <a:xfrm>
                <a:off x="2530884" y="5968335"/>
                <a:ext cx="42600" cy="47765"/>
              </a:xfrm>
              <a:custGeom>
                <a:avLst/>
                <a:gdLst>
                  <a:gd name="T0" fmla="*/ 21 w 29"/>
                  <a:gd name="T1" fmla="*/ 22 h 32"/>
                  <a:gd name="T2" fmla="*/ 28 w 29"/>
                  <a:gd name="T3" fmla="*/ 0 h 32"/>
                  <a:gd name="T4" fmla="*/ 8 w 29"/>
                  <a:gd name="T5" fmla="*/ 10 h 32"/>
                  <a:gd name="T6" fmla="*/ 1 w 29"/>
                  <a:gd name="T7" fmla="*/ 31 h 32"/>
                  <a:gd name="T8" fmla="*/ 21 w 29"/>
                  <a:gd name="T9" fmla="*/ 22 h 32"/>
                </a:gdLst>
                <a:ahLst/>
                <a:cxnLst>
                  <a:cxn ang="0">
                    <a:pos x="T0" y="T1"/>
                  </a:cxn>
                  <a:cxn ang="0">
                    <a:pos x="T2" y="T3"/>
                  </a:cxn>
                  <a:cxn ang="0">
                    <a:pos x="T4" y="T5"/>
                  </a:cxn>
                  <a:cxn ang="0">
                    <a:pos x="T6" y="T7"/>
                  </a:cxn>
                  <a:cxn ang="0">
                    <a:pos x="T8" y="T9"/>
                  </a:cxn>
                </a:cxnLst>
                <a:rect l="0" t="0" r="r" b="b"/>
                <a:pathLst>
                  <a:path w="29" h="32">
                    <a:moveTo>
                      <a:pt x="21" y="22"/>
                    </a:moveTo>
                    <a:cubicBezTo>
                      <a:pt x="26" y="16"/>
                      <a:pt x="29" y="8"/>
                      <a:pt x="28" y="0"/>
                    </a:cubicBezTo>
                    <a:cubicBezTo>
                      <a:pt x="21" y="0"/>
                      <a:pt x="13" y="4"/>
                      <a:pt x="8" y="10"/>
                    </a:cubicBezTo>
                    <a:cubicBezTo>
                      <a:pt x="3" y="15"/>
                      <a:pt x="0" y="23"/>
                      <a:pt x="1" y="31"/>
                    </a:cubicBezTo>
                    <a:cubicBezTo>
                      <a:pt x="8" y="32"/>
                      <a:pt x="16" y="27"/>
                      <a:pt x="21"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grpSp>
        <p:grpSp>
          <p:nvGrpSpPr>
            <p:cNvPr id="162" name="Group 161"/>
            <p:cNvGrpSpPr/>
            <p:nvPr/>
          </p:nvGrpSpPr>
          <p:grpSpPr>
            <a:xfrm>
              <a:off x="606413" y="5902498"/>
              <a:ext cx="658373" cy="378242"/>
              <a:chOff x="1392286" y="5902498"/>
              <a:chExt cx="658373" cy="378242"/>
            </a:xfrm>
          </p:grpSpPr>
          <p:sp>
            <p:nvSpPr>
              <p:cNvPr id="164" name="Rectangle 34"/>
              <p:cNvSpPr>
                <a:spLocks noChangeArrowheads="1"/>
              </p:cNvSpPr>
              <p:nvPr/>
            </p:nvSpPr>
            <p:spPr bwMode="auto">
              <a:xfrm>
                <a:off x="1469742" y="5902498"/>
                <a:ext cx="511207"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5" name="Oval 35"/>
              <p:cNvSpPr>
                <a:spLocks noChangeArrowheads="1"/>
              </p:cNvSpPr>
              <p:nvPr/>
            </p:nvSpPr>
            <p:spPr bwMode="auto">
              <a:xfrm>
                <a:off x="1721472"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6" name="Rectangle 36"/>
              <p:cNvSpPr>
                <a:spLocks noChangeArrowheads="1"/>
              </p:cNvSpPr>
              <p:nvPr/>
            </p:nvSpPr>
            <p:spPr bwMode="auto">
              <a:xfrm>
                <a:off x="1487815" y="5929607"/>
                <a:ext cx="476352"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7" name="Freeform 37"/>
              <p:cNvSpPr>
                <a:spLocks/>
              </p:cNvSpPr>
              <p:nvPr/>
            </p:nvSpPr>
            <p:spPr bwMode="auto">
              <a:xfrm>
                <a:off x="1392286" y="6254921"/>
                <a:ext cx="658373" cy="25819"/>
              </a:xfrm>
              <a:custGeom>
                <a:avLst/>
                <a:gdLst>
                  <a:gd name="T0" fmla="*/ 0 w 449"/>
                  <a:gd name="T1" fmla="*/ 0 h 18"/>
                  <a:gd name="T2" fmla="*/ 0 w 449"/>
                  <a:gd name="T3" fmla="*/ 1 h 18"/>
                  <a:gd name="T4" fmla="*/ 16 w 449"/>
                  <a:gd name="T5" fmla="*/ 18 h 18"/>
                  <a:gd name="T6" fmla="*/ 432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7" y="18"/>
                      <a:pt x="16" y="18"/>
                    </a:cubicBezTo>
                    <a:cubicBezTo>
                      <a:pt x="432" y="18"/>
                      <a:pt x="432" y="18"/>
                      <a:pt x="432" y="18"/>
                    </a:cubicBezTo>
                    <a:cubicBezTo>
                      <a:pt x="441"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8" name="Freeform 40"/>
              <p:cNvSpPr>
                <a:spLocks/>
              </p:cNvSpPr>
              <p:nvPr/>
            </p:nvSpPr>
            <p:spPr bwMode="auto">
              <a:xfrm>
                <a:off x="1711145" y="5988990"/>
                <a:ext cx="98110" cy="86493"/>
              </a:xfrm>
              <a:custGeom>
                <a:avLst/>
                <a:gdLst>
                  <a:gd name="T0" fmla="*/ 0 w 76"/>
                  <a:gd name="T1" fmla="*/ 67 h 67"/>
                  <a:gd name="T2" fmla="*/ 76 w 76"/>
                  <a:gd name="T3" fmla="*/ 67 h 67"/>
                  <a:gd name="T4" fmla="*/ 76 w 76"/>
                  <a:gd name="T5" fmla="*/ 0 h 67"/>
                  <a:gd name="T6" fmla="*/ 0 w 76"/>
                  <a:gd name="T7" fmla="*/ 11 h 67"/>
                  <a:gd name="T8" fmla="*/ 0 w 76"/>
                  <a:gd name="T9" fmla="*/ 67 h 67"/>
                </a:gdLst>
                <a:ahLst/>
                <a:cxnLst>
                  <a:cxn ang="0">
                    <a:pos x="T0" y="T1"/>
                  </a:cxn>
                  <a:cxn ang="0">
                    <a:pos x="T2" y="T3"/>
                  </a:cxn>
                  <a:cxn ang="0">
                    <a:pos x="T4" y="T5"/>
                  </a:cxn>
                  <a:cxn ang="0">
                    <a:pos x="T6" y="T7"/>
                  </a:cxn>
                  <a:cxn ang="0">
                    <a:pos x="T8" y="T9"/>
                  </a:cxn>
                </a:cxnLst>
                <a:rect l="0" t="0" r="r" b="b"/>
                <a:pathLst>
                  <a:path w="76" h="67">
                    <a:moveTo>
                      <a:pt x="0" y="67"/>
                    </a:moveTo>
                    <a:lnTo>
                      <a:pt x="76" y="67"/>
                    </a:lnTo>
                    <a:lnTo>
                      <a:pt x="76" y="0"/>
                    </a:lnTo>
                    <a:lnTo>
                      <a:pt x="0" y="11"/>
                    </a:lnTo>
                    <a:lnTo>
                      <a:pt x="0"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69" name="Freeform 41"/>
              <p:cNvSpPr>
                <a:spLocks/>
              </p:cNvSpPr>
              <p:nvPr/>
            </p:nvSpPr>
            <p:spPr bwMode="auto">
              <a:xfrm>
                <a:off x="1633689" y="6003191"/>
                <a:ext cx="73582" cy="72292"/>
              </a:xfrm>
              <a:custGeom>
                <a:avLst/>
                <a:gdLst>
                  <a:gd name="T0" fmla="*/ 57 w 57"/>
                  <a:gd name="T1" fmla="*/ 56 h 56"/>
                  <a:gd name="T2" fmla="*/ 57 w 57"/>
                  <a:gd name="T3" fmla="*/ 0 h 56"/>
                  <a:gd name="T4" fmla="*/ 0 w 57"/>
                  <a:gd name="T5" fmla="*/ 8 h 56"/>
                  <a:gd name="T6" fmla="*/ 0 w 57"/>
                  <a:gd name="T7" fmla="*/ 56 h 56"/>
                  <a:gd name="T8" fmla="*/ 57 w 57"/>
                  <a:gd name="T9" fmla="*/ 56 h 56"/>
                </a:gdLst>
                <a:ahLst/>
                <a:cxnLst>
                  <a:cxn ang="0">
                    <a:pos x="T0" y="T1"/>
                  </a:cxn>
                  <a:cxn ang="0">
                    <a:pos x="T2" y="T3"/>
                  </a:cxn>
                  <a:cxn ang="0">
                    <a:pos x="T4" y="T5"/>
                  </a:cxn>
                  <a:cxn ang="0">
                    <a:pos x="T6" y="T7"/>
                  </a:cxn>
                  <a:cxn ang="0">
                    <a:pos x="T8" y="T9"/>
                  </a:cxn>
                </a:cxnLst>
                <a:rect l="0" t="0" r="r" b="b"/>
                <a:pathLst>
                  <a:path w="57" h="56">
                    <a:moveTo>
                      <a:pt x="57" y="56"/>
                    </a:moveTo>
                    <a:lnTo>
                      <a:pt x="57" y="0"/>
                    </a:lnTo>
                    <a:lnTo>
                      <a:pt x="0" y="8"/>
                    </a:lnTo>
                    <a:lnTo>
                      <a:pt x="0" y="56"/>
                    </a:lnTo>
                    <a:lnTo>
                      <a:pt x="5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0" name="Freeform 42"/>
              <p:cNvSpPr>
                <a:spLocks/>
              </p:cNvSpPr>
              <p:nvPr/>
            </p:nvSpPr>
            <p:spPr bwMode="auto">
              <a:xfrm>
                <a:off x="1633689" y="6078064"/>
                <a:ext cx="73582" cy="73583"/>
              </a:xfrm>
              <a:custGeom>
                <a:avLst/>
                <a:gdLst>
                  <a:gd name="T0" fmla="*/ 57 w 57"/>
                  <a:gd name="T1" fmla="*/ 0 h 57"/>
                  <a:gd name="T2" fmla="*/ 0 w 57"/>
                  <a:gd name="T3" fmla="*/ 0 h 57"/>
                  <a:gd name="T4" fmla="*/ 0 w 57"/>
                  <a:gd name="T5" fmla="*/ 49 h 57"/>
                  <a:gd name="T6" fmla="*/ 57 w 57"/>
                  <a:gd name="T7" fmla="*/ 57 h 57"/>
                  <a:gd name="T8" fmla="*/ 57 w 57"/>
                  <a:gd name="T9" fmla="*/ 0 h 57"/>
                </a:gdLst>
                <a:ahLst/>
                <a:cxnLst>
                  <a:cxn ang="0">
                    <a:pos x="T0" y="T1"/>
                  </a:cxn>
                  <a:cxn ang="0">
                    <a:pos x="T2" y="T3"/>
                  </a:cxn>
                  <a:cxn ang="0">
                    <a:pos x="T4" y="T5"/>
                  </a:cxn>
                  <a:cxn ang="0">
                    <a:pos x="T6" y="T7"/>
                  </a:cxn>
                  <a:cxn ang="0">
                    <a:pos x="T8" y="T9"/>
                  </a:cxn>
                </a:cxnLst>
                <a:rect l="0" t="0" r="r" b="b"/>
                <a:pathLst>
                  <a:path w="57" h="57">
                    <a:moveTo>
                      <a:pt x="57" y="0"/>
                    </a:moveTo>
                    <a:lnTo>
                      <a:pt x="0" y="0"/>
                    </a:lnTo>
                    <a:lnTo>
                      <a:pt x="0" y="49"/>
                    </a:lnTo>
                    <a:lnTo>
                      <a:pt x="57" y="5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71" name="Freeform 43"/>
              <p:cNvSpPr>
                <a:spLocks/>
              </p:cNvSpPr>
              <p:nvPr/>
            </p:nvSpPr>
            <p:spPr bwMode="auto">
              <a:xfrm>
                <a:off x="1711145" y="6078064"/>
                <a:ext cx="98110" cy="87783"/>
              </a:xfrm>
              <a:custGeom>
                <a:avLst/>
                <a:gdLst>
                  <a:gd name="T0" fmla="*/ 0 w 76"/>
                  <a:gd name="T1" fmla="*/ 0 h 68"/>
                  <a:gd name="T2" fmla="*/ 0 w 76"/>
                  <a:gd name="T3" fmla="*/ 57 h 68"/>
                  <a:gd name="T4" fmla="*/ 76 w 76"/>
                  <a:gd name="T5" fmla="*/ 68 h 68"/>
                  <a:gd name="T6" fmla="*/ 76 w 76"/>
                  <a:gd name="T7" fmla="*/ 0 h 68"/>
                  <a:gd name="T8" fmla="*/ 0 w 76"/>
                  <a:gd name="T9" fmla="*/ 0 h 68"/>
                </a:gdLst>
                <a:ahLst/>
                <a:cxnLst>
                  <a:cxn ang="0">
                    <a:pos x="T0" y="T1"/>
                  </a:cxn>
                  <a:cxn ang="0">
                    <a:pos x="T2" y="T3"/>
                  </a:cxn>
                  <a:cxn ang="0">
                    <a:pos x="T4" y="T5"/>
                  </a:cxn>
                  <a:cxn ang="0">
                    <a:pos x="T6" y="T7"/>
                  </a:cxn>
                  <a:cxn ang="0">
                    <a:pos x="T8" y="T9"/>
                  </a:cxn>
                </a:cxnLst>
                <a:rect l="0" t="0" r="r" b="b"/>
                <a:pathLst>
                  <a:path w="76" h="68">
                    <a:moveTo>
                      <a:pt x="0" y="0"/>
                    </a:moveTo>
                    <a:lnTo>
                      <a:pt x="0" y="57"/>
                    </a:lnTo>
                    <a:lnTo>
                      <a:pt x="76" y="68"/>
                    </a:lnTo>
                    <a:lnTo>
                      <a:pt x="7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grpSp>
        <p:sp>
          <p:nvSpPr>
            <p:cNvPr id="163" name="TextBox 162"/>
            <p:cNvSpPr txBox="1"/>
            <p:nvPr/>
          </p:nvSpPr>
          <p:spPr>
            <a:xfrm>
              <a:off x="252964" y="4876684"/>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grpSp>
      <p:sp>
        <p:nvSpPr>
          <p:cNvPr id="178" name="Right Arrow 5"/>
          <p:cNvSpPr/>
          <p:nvPr/>
        </p:nvSpPr>
        <p:spPr>
          <a:xfrm>
            <a:off x="5620115" y="1702754"/>
            <a:ext cx="2041084" cy="944040"/>
          </a:xfrm>
          <a:prstGeom prst="rightArrow">
            <a:avLst>
              <a:gd name="adj1" fmla="val 50000"/>
              <a:gd name="adj2" fmla="val 7353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179" name="Freeform: Shape 42"/>
          <p:cNvSpPr/>
          <p:nvPr/>
        </p:nvSpPr>
        <p:spPr>
          <a:xfrm rot="16200000">
            <a:off x="6758955" y="2587437"/>
            <a:ext cx="4421694" cy="1202278"/>
          </a:xfrm>
          <a:custGeom>
            <a:avLst/>
            <a:gdLst>
              <a:gd name="connsiteX0" fmla="*/ 4387029 w 4387029"/>
              <a:gd name="connsiteY0" fmla="*/ 881005 h 1202278"/>
              <a:gd name="connsiteX1" fmla="*/ 4387029 w 4387029"/>
              <a:gd name="connsiteY1" fmla="*/ 1202278 h 1202278"/>
              <a:gd name="connsiteX2" fmla="*/ 4714 w 4387029"/>
              <a:gd name="connsiteY2" fmla="*/ 1202278 h 1202278"/>
              <a:gd name="connsiteX3" fmla="*/ 4714 w 4387029"/>
              <a:gd name="connsiteY3" fmla="*/ 885097 h 1202278"/>
              <a:gd name="connsiteX4" fmla="*/ 0 w 4387029"/>
              <a:gd name="connsiteY4" fmla="*/ 885083 h 1202278"/>
              <a:gd name="connsiteX5" fmla="*/ 4714 w 4387029"/>
              <a:gd name="connsiteY5" fmla="*/ 883793 h 1202278"/>
              <a:gd name="connsiteX6" fmla="*/ 4714 w 4387029"/>
              <a:gd name="connsiteY6" fmla="*/ 881005 h 1202278"/>
              <a:gd name="connsiteX7" fmla="*/ 14900 w 4387029"/>
              <a:gd name="connsiteY7" fmla="*/ 881005 h 1202278"/>
              <a:gd name="connsiteX8" fmla="*/ 3233840 w 4387029"/>
              <a:gd name="connsiteY8" fmla="*/ 0 h 1202278"/>
              <a:gd name="connsiteX9" fmla="*/ 4365100 w 4387029"/>
              <a:gd name="connsiteY9" fmla="*/ 881005 h 1202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7029" h="1202278">
                <a:moveTo>
                  <a:pt x="4387029" y="881005"/>
                </a:moveTo>
                <a:lnTo>
                  <a:pt x="4387029" y="1202278"/>
                </a:lnTo>
                <a:lnTo>
                  <a:pt x="4714" y="1202278"/>
                </a:lnTo>
                <a:lnTo>
                  <a:pt x="4714" y="885097"/>
                </a:lnTo>
                <a:lnTo>
                  <a:pt x="0" y="885083"/>
                </a:lnTo>
                <a:lnTo>
                  <a:pt x="4714" y="883793"/>
                </a:lnTo>
                <a:lnTo>
                  <a:pt x="4714" y="881005"/>
                </a:lnTo>
                <a:lnTo>
                  <a:pt x="14900" y="881005"/>
                </a:lnTo>
                <a:lnTo>
                  <a:pt x="3233840" y="0"/>
                </a:lnTo>
                <a:lnTo>
                  <a:pt x="4365100" y="881005"/>
                </a:lnTo>
                <a:close/>
              </a:path>
            </a:pathLst>
          </a:custGeom>
          <a:solidFill>
            <a:srgbClr val="505050"/>
          </a:solidFill>
          <a:ln w="28575" cap="flat" cmpd="sng" algn="ctr">
            <a:solidFill>
              <a:schemeClr val="bg1">
                <a:lumMod val="75000"/>
              </a:schemeClr>
            </a:solidFill>
            <a:prstDash val="soli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ea typeface="+mj-ea"/>
              <a:cs typeface="+mj-cs"/>
            </a:endParaRPr>
          </a:p>
        </p:txBody>
      </p:sp>
      <p:sp>
        <p:nvSpPr>
          <p:cNvPr id="180" name="Bent Arrow 14"/>
          <p:cNvSpPr/>
          <p:nvPr/>
        </p:nvSpPr>
        <p:spPr>
          <a:xfrm rot="10800000">
            <a:off x="2914555" y="2859075"/>
            <a:ext cx="5846899" cy="3122594"/>
          </a:xfrm>
          <a:prstGeom prst="bentArrow">
            <a:avLst>
              <a:gd name="adj1" fmla="val 4873"/>
              <a:gd name="adj2" fmla="val 8600"/>
              <a:gd name="adj3" fmla="val 13322"/>
              <a:gd name="adj4" fmla="val 2947"/>
            </a:avLst>
          </a:prstGeom>
          <a:solidFill>
            <a:srgbClr val="0078D7">
              <a:lumMod val="40000"/>
              <a:lumOff val="60000"/>
            </a:srgbClr>
          </a:solidFill>
          <a:ln w="10795" cap="flat" cmpd="sng" algn="ctr">
            <a:no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181" name="AutoShape 21"/>
          <p:cNvSpPr>
            <a:spLocks noChangeAspect="1" noChangeArrowheads="1" noTextEdit="1"/>
          </p:cNvSpPr>
          <p:nvPr/>
        </p:nvSpPr>
        <p:spPr bwMode="auto">
          <a:xfrm>
            <a:off x="473679" y="5153617"/>
            <a:ext cx="2234594" cy="1441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183" name="Rectangle 182"/>
          <p:cNvSpPr/>
          <p:nvPr/>
        </p:nvSpPr>
        <p:spPr>
          <a:xfrm>
            <a:off x="636182" y="3714956"/>
            <a:ext cx="516056"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sysClr val="windowText" lastClr="000000"/>
                </a:solidFill>
                <a:effectLst/>
                <a:uLnTx/>
                <a:uFillTx/>
                <a:latin typeface="+mj-lt"/>
                <a:ea typeface="Segoe UI" panose="020B0502040204020203" pitchFamily="34" charset="0"/>
                <a:cs typeface="Segoe UI" panose="020B0502040204020203" pitchFamily="34" charset="0"/>
              </a:rPr>
              <a:t>Pus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sysClr val="windowText" lastClr="000000"/>
                </a:solidFill>
                <a:effectLst/>
                <a:uLnTx/>
                <a:uFillTx/>
                <a:latin typeface="+mj-lt"/>
                <a:ea typeface="Segoe UI" panose="020B0502040204020203" pitchFamily="34" charset="0"/>
                <a:cs typeface="Segoe UI" panose="020B0502040204020203" pitchFamily="34" charset="0"/>
              </a:rPr>
              <a:t>Code</a:t>
            </a:r>
          </a:p>
        </p:txBody>
      </p:sp>
      <p:cxnSp>
        <p:nvCxnSpPr>
          <p:cNvPr id="184" name="Straight Arrow Connector 183"/>
          <p:cNvCxnSpPr>
            <a:cxnSpLocks/>
            <a:stCxn id="214" idx="1"/>
          </p:cNvCxnSpPr>
          <p:nvPr/>
        </p:nvCxnSpPr>
        <p:spPr>
          <a:xfrm flipH="1">
            <a:off x="2977429" y="3885006"/>
            <a:ext cx="2007096" cy="1186253"/>
          </a:xfrm>
          <a:prstGeom prst="straightConnector1">
            <a:avLst/>
          </a:prstGeom>
          <a:ln w="76200">
            <a:solidFill>
              <a:srgbClr val="89CBFF"/>
            </a:solidFill>
            <a:headEnd type="none"/>
            <a:tailEnd type="triangle" w="med" len="lg"/>
          </a:ln>
        </p:spPr>
        <p:style>
          <a:lnRef idx="1">
            <a:schemeClr val="accent1"/>
          </a:lnRef>
          <a:fillRef idx="0">
            <a:schemeClr val="accent1"/>
          </a:fillRef>
          <a:effectRef idx="0">
            <a:schemeClr val="accent1"/>
          </a:effectRef>
          <a:fontRef idx="minor">
            <a:schemeClr val="tx1"/>
          </a:fontRef>
        </p:style>
      </p:cxnSp>
      <p:grpSp>
        <p:nvGrpSpPr>
          <p:cNvPr id="185" name="Group 184"/>
          <p:cNvGrpSpPr/>
          <p:nvPr/>
        </p:nvGrpSpPr>
        <p:grpSpPr>
          <a:xfrm>
            <a:off x="7572388" y="1387710"/>
            <a:ext cx="1488138" cy="1638004"/>
            <a:chOff x="7572388" y="1387710"/>
            <a:chExt cx="1488138" cy="1638004"/>
          </a:xfrm>
        </p:grpSpPr>
        <p:sp>
          <p:nvSpPr>
            <p:cNvPr id="186" name="Rounded Rectangle 26"/>
            <p:cNvSpPr/>
            <p:nvPr/>
          </p:nvSpPr>
          <p:spPr>
            <a:xfrm>
              <a:off x="7576828"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187" name="TextBox 186"/>
            <p:cNvSpPr txBox="1"/>
            <p:nvPr/>
          </p:nvSpPr>
          <p:spPr>
            <a:xfrm>
              <a:off x="7572388" y="2437531"/>
              <a:ext cx="1406898" cy="588183"/>
            </a:xfrm>
            <a:prstGeom prst="rect">
              <a:avLst/>
            </a:prstGeom>
          </p:spPr>
          <p:txBody>
            <a:bodyPr vert="horz" wrap="square" lIns="91390" tIns="91390" rIns="91390" bIns="91390" rtlCol="0" anchor="t">
              <a:noAutofit/>
            </a:bodyPr>
            <a:lstStyle/>
            <a:p>
              <a:pPr marL="233205" marR="0" lvl="0" indent="-233205" algn="l" defTabSz="896386"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itchFamily="34" charset="0"/>
                  <a:cs typeface="Segoe UI" panose="020B0502040204020203" pitchFamily="34" charset="0"/>
                </a:rPr>
                <a:t>Production</a:t>
              </a:r>
            </a:p>
            <a:p>
              <a:pPr marL="233205" marR="0" lvl="0" indent="-233205" algn="l" defTabSz="896386"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itchFamily="34" charset="0"/>
                  <a:cs typeface="Segoe UI" panose="020B0502040204020203" pitchFamily="34" charset="0"/>
                </a:rPr>
                <a:t>environments</a:t>
              </a:r>
            </a:p>
          </p:txBody>
        </p:sp>
        <p:sp>
          <p:nvSpPr>
            <p:cNvPr id="188" name="TextBox 187"/>
            <p:cNvSpPr txBox="1"/>
            <p:nvPr/>
          </p:nvSpPr>
          <p:spPr>
            <a:xfrm>
              <a:off x="7632963" y="1680614"/>
              <a:ext cx="1411380" cy="427319"/>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itchFamily="34" charset="0"/>
                  <a:cs typeface="Segoe UI" panose="020B0502040204020203" pitchFamily="34" charset="0"/>
                </a:rPr>
                <a:t>Run, Manage</a:t>
              </a:r>
            </a:p>
          </p:txBody>
        </p:sp>
        <p:sp>
          <p:nvSpPr>
            <p:cNvPr id="189" name="Rectangle 188"/>
            <p:cNvSpPr/>
            <p:nvPr/>
          </p:nvSpPr>
          <p:spPr>
            <a:xfrm>
              <a:off x="7683226" y="2034185"/>
              <a:ext cx="1262181" cy="4321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j-lt"/>
                <a:ea typeface="+mn-ea"/>
                <a:cs typeface="+mn-cs"/>
              </a:endParaRPr>
            </a:p>
          </p:txBody>
        </p:sp>
        <p:pic>
          <p:nvPicPr>
            <p:cNvPr id="190" name="Picture 189"/>
            <p:cNvPicPr>
              <a:picLocks noChangeAspect="1"/>
            </p:cNvPicPr>
            <p:nvPr/>
          </p:nvPicPr>
          <p:blipFill>
            <a:blip r:embed="rId8"/>
            <a:stretch>
              <a:fillRect/>
            </a:stretch>
          </p:blipFill>
          <p:spPr>
            <a:xfrm>
              <a:off x="7769766" y="2080979"/>
              <a:ext cx="392605" cy="338551"/>
            </a:xfrm>
            <a:prstGeom prst="rect">
              <a:avLst/>
            </a:prstGeom>
          </p:spPr>
        </p:pic>
        <p:sp>
          <p:nvSpPr>
            <p:cNvPr id="191" name="TextBox 190"/>
            <p:cNvSpPr txBox="1"/>
            <p:nvPr/>
          </p:nvSpPr>
          <p:spPr>
            <a:xfrm>
              <a:off x="7849949" y="1387710"/>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pic>
          <p:nvPicPr>
            <p:cNvPr id="192" name="Picture 191"/>
            <p:cNvPicPr>
              <a:picLocks noChangeAspect="1"/>
            </p:cNvPicPr>
            <p:nvPr/>
          </p:nvPicPr>
          <p:blipFill>
            <a:blip r:embed="rId9"/>
            <a:stretch>
              <a:fillRect/>
            </a:stretch>
          </p:blipFill>
          <p:spPr>
            <a:xfrm>
              <a:off x="8296301" y="2105507"/>
              <a:ext cx="628748" cy="308658"/>
            </a:xfrm>
            <a:prstGeom prst="rect">
              <a:avLst/>
            </a:prstGeom>
          </p:spPr>
        </p:pic>
        <p:cxnSp>
          <p:nvCxnSpPr>
            <p:cNvPr id="193" name="Straight Connector 192"/>
            <p:cNvCxnSpPr/>
            <p:nvPr/>
          </p:nvCxnSpPr>
          <p:spPr>
            <a:xfrm>
              <a:off x="8199520" y="2090620"/>
              <a:ext cx="96781" cy="21195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flipV="1">
              <a:off x="8190439" y="2398285"/>
              <a:ext cx="116983" cy="2976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95" name="Rectangle: Rounded Corners 60"/>
            <p:cNvSpPr/>
            <p:nvPr/>
          </p:nvSpPr>
          <p:spPr>
            <a:xfrm>
              <a:off x="7725711" y="2057484"/>
              <a:ext cx="482889" cy="380047"/>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j-lt"/>
                <a:ea typeface="+mn-ea"/>
                <a:cs typeface="+mn-cs"/>
              </a:endParaRPr>
            </a:p>
          </p:txBody>
        </p:sp>
      </p:grpSp>
      <p:grpSp>
        <p:nvGrpSpPr>
          <p:cNvPr id="196" name="Group 195"/>
          <p:cNvGrpSpPr/>
          <p:nvPr/>
        </p:nvGrpSpPr>
        <p:grpSpPr>
          <a:xfrm>
            <a:off x="4681901" y="4747986"/>
            <a:ext cx="2069421" cy="1612297"/>
            <a:chOff x="4681901" y="4747986"/>
            <a:chExt cx="2069421" cy="1612297"/>
          </a:xfrm>
        </p:grpSpPr>
        <p:pic>
          <p:nvPicPr>
            <p:cNvPr id="197" name="Picture 196"/>
            <p:cNvPicPr>
              <a:picLocks noChangeAspect="1"/>
            </p:cNvPicPr>
            <p:nvPr/>
          </p:nvPicPr>
          <p:blipFill>
            <a:blip r:embed="rId10">
              <a:duotone>
                <a:prstClr val="black"/>
                <a:schemeClr val="accent3">
                  <a:tint val="45000"/>
                  <a:satMod val="400000"/>
                </a:schemeClr>
              </a:duotone>
            </a:blip>
            <a:stretch>
              <a:fillRect/>
            </a:stretch>
          </p:blipFill>
          <p:spPr>
            <a:xfrm>
              <a:off x="4681901" y="4854122"/>
              <a:ext cx="2069421" cy="1506161"/>
            </a:xfrm>
            <a:prstGeom prst="rect">
              <a:avLst/>
            </a:prstGeom>
          </p:spPr>
        </p:pic>
        <p:sp>
          <p:nvSpPr>
            <p:cNvPr id="198" name="Rectangle 197"/>
            <p:cNvSpPr/>
            <p:nvPr/>
          </p:nvSpPr>
          <p:spPr>
            <a:xfrm>
              <a:off x="4984766" y="4897716"/>
              <a:ext cx="1705477" cy="202787"/>
            </a:xfrm>
            <a:prstGeom prst="rect">
              <a:avLst/>
            </a:prstGeom>
            <a:solidFill>
              <a:srgbClr val="6565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j-lt"/>
                <a:ea typeface="+mn-ea"/>
                <a:cs typeface="+mn-cs"/>
              </a:endParaRPr>
            </a:p>
          </p:txBody>
        </p:sp>
        <p:sp>
          <p:nvSpPr>
            <p:cNvPr id="199" name="TextBox 198"/>
            <p:cNvSpPr txBox="1"/>
            <p:nvPr/>
          </p:nvSpPr>
          <p:spPr>
            <a:xfrm>
              <a:off x="5291402" y="4747986"/>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grpSp>
      <p:grpSp>
        <p:nvGrpSpPr>
          <p:cNvPr id="200" name="Group 199"/>
          <p:cNvGrpSpPr/>
          <p:nvPr/>
        </p:nvGrpSpPr>
        <p:grpSpPr>
          <a:xfrm>
            <a:off x="898476" y="5113778"/>
            <a:ext cx="1313988" cy="896502"/>
            <a:chOff x="1883426" y="5104140"/>
            <a:chExt cx="1313988" cy="896502"/>
          </a:xfrm>
        </p:grpSpPr>
        <p:pic>
          <p:nvPicPr>
            <p:cNvPr id="201" name="Picture 200"/>
            <p:cNvPicPr>
              <a:picLocks noChangeAspect="1"/>
            </p:cNvPicPr>
            <p:nvPr/>
          </p:nvPicPr>
          <p:blipFill>
            <a:blip r:embed="rId11"/>
            <a:stretch>
              <a:fillRect/>
            </a:stretch>
          </p:blipFill>
          <p:spPr>
            <a:xfrm>
              <a:off x="2145264" y="5243497"/>
              <a:ext cx="668742" cy="618646"/>
            </a:xfrm>
            <a:prstGeom prst="rect">
              <a:avLst/>
            </a:prstGeom>
          </p:spPr>
        </p:pic>
        <p:sp>
          <p:nvSpPr>
            <p:cNvPr id="202" name="Rectangle 201"/>
            <p:cNvSpPr/>
            <p:nvPr/>
          </p:nvSpPr>
          <p:spPr>
            <a:xfrm>
              <a:off x="1883426" y="5483571"/>
              <a:ext cx="240450" cy="138499"/>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Code</a:t>
              </a:r>
            </a:p>
          </p:txBody>
        </p:sp>
        <p:sp>
          <p:nvSpPr>
            <p:cNvPr id="203" name="Rectangle 202"/>
            <p:cNvSpPr/>
            <p:nvPr/>
          </p:nvSpPr>
          <p:spPr>
            <a:xfrm>
              <a:off x="2379447" y="5104140"/>
              <a:ext cx="179536" cy="138499"/>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Run</a:t>
              </a:r>
            </a:p>
          </p:txBody>
        </p:sp>
        <p:sp>
          <p:nvSpPr>
            <p:cNvPr id="204" name="Rectangle 203"/>
            <p:cNvSpPr/>
            <p:nvPr/>
          </p:nvSpPr>
          <p:spPr>
            <a:xfrm>
              <a:off x="2817502" y="5483571"/>
              <a:ext cx="379912" cy="138499"/>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Validate</a:t>
              </a:r>
            </a:p>
          </p:txBody>
        </p:sp>
        <p:sp>
          <p:nvSpPr>
            <p:cNvPr id="205" name="Rectangle 204"/>
            <p:cNvSpPr/>
            <p:nvPr/>
          </p:nvSpPr>
          <p:spPr>
            <a:xfrm>
              <a:off x="2308915" y="5862143"/>
              <a:ext cx="301365" cy="138499"/>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Debug</a:t>
              </a:r>
            </a:p>
          </p:txBody>
        </p:sp>
      </p:grpSp>
      <p:grpSp>
        <p:nvGrpSpPr>
          <p:cNvPr id="206" name="Group 205"/>
          <p:cNvGrpSpPr/>
          <p:nvPr/>
        </p:nvGrpSpPr>
        <p:grpSpPr>
          <a:xfrm>
            <a:off x="1369381" y="4802368"/>
            <a:ext cx="1509926" cy="895613"/>
            <a:chOff x="1369381" y="4802368"/>
            <a:chExt cx="1509926" cy="895613"/>
          </a:xfrm>
        </p:grpSpPr>
        <p:pic>
          <p:nvPicPr>
            <p:cNvPr id="207" name="Picture 12" descr="Image result for docker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280309" y="4802368"/>
              <a:ext cx="598998" cy="399332"/>
            </a:xfrm>
            <a:prstGeom prst="rect">
              <a:avLst/>
            </a:prstGeom>
            <a:noFill/>
            <a:extLst>
              <a:ext uri="{909E8E84-426E-40DD-AFC4-6F175D3DCCD1}">
                <a14:hiddenFill xmlns:a14="http://schemas.microsoft.com/office/drawing/2010/main">
                  <a:solidFill>
                    <a:srgbClr val="FFFFFF"/>
                  </a:solidFill>
                </a14:hiddenFill>
              </a:ext>
            </a:extLst>
          </p:spPr>
        </p:pic>
        <p:pic>
          <p:nvPicPr>
            <p:cNvPr id="208" name="Picture_x0020_6" descr="image016"/>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369381" y="5426936"/>
              <a:ext cx="297381" cy="27104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10" name="Picture 12" descr="Image result for docker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659032" y="2499978"/>
            <a:ext cx="598998" cy="399332"/>
          </a:xfrm>
          <a:prstGeom prst="rect">
            <a:avLst/>
          </a:prstGeom>
          <a:noFill/>
          <a:extLst>
            <a:ext uri="{909E8E84-426E-40DD-AFC4-6F175D3DCCD1}">
              <a14:hiddenFill xmlns:a14="http://schemas.microsoft.com/office/drawing/2010/main">
                <a:solidFill>
                  <a:srgbClr val="FFFFFF"/>
                </a:solidFill>
              </a14:hiddenFill>
            </a:ext>
          </a:extLst>
        </p:spPr>
      </p:pic>
      <p:grpSp>
        <p:nvGrpSpPr>
          <p:cNvPr id="211" name="Group 210"/>
          <p:cNvGrpSpPr/>
          <p:nvPr/>
        </p:nvGrpSpPr>
        <p:grpSpPr>
          <a:xfrm>
            <a:off x="4974763" y="1387710"/>
            <a:ext cx="1483698" cy="1551834"/>
            <a:chOff x="4974763" y="1387710"/>
            <a:chExt cx="1483698" cy="1551834"/>
          </a:xfrm>
        </p:grpSpPr>
        <p:sp>
          <p:nvSpPr>
            <p:cNvPr id="212" name="Rounded Rectangle 12"/>
            <p:cNvSpPr/>
            <p:nvPr/>
          </p:nvSpPr>
          <p:spPr>
            <a:xfrm>
              <a:off x="4974763"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213" name="TextBox 212"/>
            <p:cNvSpPr txBox="1"/>
            <p:nvPr/>
          </p:nvSpPr>
          <p:spPr>
            <a:xfrm>
              <a:off x="5150687" y="1935424"/>
              <a:ext cx="1240480" cy="310392"/>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CD, Deploy</a:t>
              </a:r>
            </a:p>
          </p:txBody>
        </p:sp>
        <p:sp>
          <p:nvSpPr>
            <p:cNvPr id="214" name="TextBox 213"/>
            <p:cNvSpPr txBox="1"/>
            <p:nvPr/>
          </p:nvSpPr>
          <p:spPr>
            <a:xfrm>
              <a:off x="5223238" y="1387710"/>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grpSp>
      <p:cxnSp>
        <p:nvCxnSpPr>
          <p:cNvPr id="215" name="Straight Arrow Connector 214"/>
          <p:cNvCxnSpPr>
            <a:cxnSpLocks/>
          </p:cNvCxnSpPr>
          <p:nvPr/>
        </p:nvCxnSpPr>
        <p:spPr>
          <a:xfrm flipV="1">
            <a:off x="6462901" y="2869658"/>
            <a:ext cx="1167160" cy="572509"/>
          </a:xfrm>
          <a:prstGeom prst="straightConnector1">
            <a:avLst/>
          </a:prstGeom>
          <a:ln w="76200">
            <a:solidFill>
              <a:srgbClr val="89CBFF"/>
            </a:solidFill>
            <a:headEnd type="none"/>
            <a:tailEnd type="triangle" w="med" len="lg"/>
          </a:ln>
        </p:spPr>
        <p:style>
          <a:lnRef idx="1">
            <a:schemeClr val="accent1"/>
          </a:lnRef>
          <a:fillRef idx="0">
            <a:schemeClr val="accent1"/>
          </a:fillRef>
          <a:effectRef idx="0">
            <a:schemeClr val="accent1"/>
          </a:effectRef>
          <a:fontRef idx="minor">
            <a:schemeClr val="tx1"/>
          </a:fontRef>
        </p:style>
      </p:cxnSp>
      <p:pic>
        <p:nvPicPr>
          <p:cNvPr id="216" name="Picture 12" descr="Image result for docker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806302" y="2499978"/>
            <a:ext cx="598998" cy="399332"/>
          </a:xfrm>
          <a:prstGeom prst="rect">
            <a:avLst/>
          </a:prstGeom>
          <a:noFill/>
          <a:extLst>
            <a:ext uri="{909E8E84-426E-40DD-AFC4-6F175D3DCCD1}">
              <a14:hiddenFill xmlns:a14="http://schemas.microsoft.com/office/drawing/2010/main">
                <a:solidFill>
                  <a:srgbClr val="FFFFFF"/>
                </a:solidFill>
              </a14:hiddenFill>
            </a:ext>
          </a:extLst>
        </p:spPr>
      </p:pic>
      <p:sp>
        <p:nvSpPr>
          <p:cNvPr id="217" name="Rectangle 216"/>
          <p:cNvSpPr/>
          <p:nvPr/>
        </p:nvSpPr>
        <p:spPr>
          <a:xfrm>
            <a:off x="4381894" y="1449630"/>
            <a:ext cx="533400" cy="1449680"/>
          </a:xfrm>
          <a:prstGeom prst="rect">
            <a:avLst/>
          </a:prstGeom>
          <a:pattFill prst="horzBrick">
            <a:fgClr>
              <a:sysClr val="window" lastClr="FFFFFF"/>
            </a:fgClr>
            <a:bgClr>
              <a:srgbClr val="C0504D"/>
            </a:bgClr>
          </a:patt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ysClr val="windowText" lastClr="000000"/>
              </a:solidFill>
              <a:effectLst/>
              <a:uLnTx/>
              <a:uFillTx/>
              <a:latin typeface="+mj-lt"/>
              <a:ea typeface="+mn-ea"/>
              <a:cs typeface="+mn-cs"/>
            </a:endParaRPr>
          </a:p>
        </p:txBody>
      </p:sp>
      <p:sp>
        <p:nvSpPr>
          <p:cNvPr id="218" name="Rectangle 217"/>
          <p:cNvSpPr/>
          <p:nvPr/>
        </p:nvSpPr>
        <p:spPr>
          <a:xfrm>
            <a:off x="1756065" y="1100372"/>
            <a:ext cx="4238318" cy="338554"/>
          </a:xfrm>
          <a:prstGeom prst="rect">
            <a:avLst/>
          </a:prstGeom>
        </p:spPr>
        <p:txBody>
          <a:bodyPr wrap="square">
            <a:spAutoFit/>
          </a:bodyPr>
          <a:lstStyle/>
          <a:p>
            <a:pPr lvl="0" defTabSz="1218791" hangingPunct="0">
              <a:defRPr/>
            </a:pPr>
            <a:r>
              <a:rPr lang="en-US" sz="1600" kern="0">
                <a:solidFill>
                  <a:srgbClr val="68217A"/>
                </a:solidFill>
                <a:cs typeface="Calibri"/>
                <a:sym typeface="Calibri"/>
              </a:rPr>
              <a:t>Azure DevOps</a:t>
            </a:r>
          </a:p>
        </p:txBody>
      </p:sp>
      <p:grpSp>
        <p:nvGrpSpPr>
          <p:cNvPr id="219" name="Group 218"/>
          <p:cNvGrpSpPr/>
          <p:nvPr/>
        </p:nvGrpSpPr>
        <p:grpSpPr>
          <a:xfrm>
            <a:off x="608671" y="1428750"/>
            <a:ext cx="1483698" cy="1510794"/>
            <a:chOff x="608671" y="1428750"/>
            <a:chExt cx="1483698" cy="1510794"/>
          </a:xfrm>
        </p:grpSpPr>
        <p:sp>
          <p:nvSpPr>
            <p:cNvPr id="220" name="Rounded Rectangle 11"/>
            <p:cNvSpPr/>
            <p:nvPr/>
          </p:nvSpPr>
          <p:spPr>
            <a:xfrm>
              <a:off x="608671" y="1461030"/>
              <a:ext cx="1483698" cy="1478514"/>
            </a:xfrm>
            <a:prstGeom prst="roundRect">
              <a:avLst>
                <a:gd name="adj" fmla="val 5783"/>
              </a:avLst>
            </a:prstGeom>
            <a:solidFill>
              <a:srgbClr val="505050"/>
            </a:solidFill>
            <a:ln w="28575" cap="flat" cmpd="sng" algn="ctr">
              <a:solidFill>
                <a:schemeClr val="bg1">
                  <a:lumMod val="75000"/>
                </a:scheme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221" name="TextBox 220"/>
            <p:cNvSpPr txBox="1"/>
            <p:nvPr/>
          </p:nvSpPr>
          <p:spPr>
            <a:xfrm>
              <a:off x="659206" y="1806524"/>
              <a:ext cx="1375377" cy="876125"/>
            </a:xfrm>
            <a:prstGeom prst="rect">
              <a:avLst/>
            </a:prstGeom>
          </p:spPr>
          <p:txBody>
            <a:bodyPr vert="horz" wrap="square" lIns="91390" tIns="91390" rIns="91390" bIns="91390" rtlCol="0" anchor="t">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Source Code Control</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SCC)</a:t>
              </a:r>
            </a:p>
          </p:txBody>
        </p:sp>
        <p:sp>
          <p:nvSpPr>
            <p:cNvPr id="222" name="TextBox 221"/>
            <p:cNvSpPr txBox="1"/>
            <p:nvPr/>
          </p:nvSpPr>
          <p:spPr>
            <a:xfrm>
              <a:off x="889041" y="1428750"/>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pic>
          <p:nvPicPr>
            <p:cNvPr id="223" name="Picture 222"/>
            <p:cNvPicPr>
              <a:picLocks noChangeAspect="1"/>
            </p:cNvPicPr>
            <p:nvPr/>
          </p:nvPicPr>
          <p:blipFill>
            <a:blip r:embed="rId15"/>
            <a:stretch>
              <a:fillRect/>
            </a:stretch>
          </p:blipFill>
          <p:spPr>
            <a:xfrm>
              <a:off x="1671050" y="2532908"/>
              <a:ext cx="360364" cy="358071"/>
            </a:xfrm>
            <a:prstGeom prst="rect">
              <a:avLst/>
            </a:prstGeom>
          </p:spPr>
        </p:pic>
      </p:grpSp>
      <p:grpSp>
        <p:nvGrpSpPr>
          <p:cNvPr id="224" name="Group 223"/>
          <p:cNvGrpSpPr/>
          <p:nvPr/>
        </p:nvGrpSpPr>
        <p:grpSpPr>
          <a:xfrm>
            <a:off x="4935788" y="3124454"/>
            <a:ext cx="1560868" cy="1478514"/>
            <a:chOff x="4863724" y="3106743"/>
            <a:chExt cx="1560868" cy="1478514"/>
          </a:xfrm>
        </p:grpSpPr>
        <p:sp>
          <p:nvSpPr>
            <p:cNvPr id="225" name="Rounded Rectangle 12"/>
            <p:cNvSpPr/>
            <p:nvPr/>
          </p:nvSpPr>
          <p:spPr>
            <a:xfrm>
              <a:off x="4863724" y="3106743"/>
              <a:ext cx="1483698" cy="1478514"/>
            </a:xfrm>
            <a:prstGeom prst="roundRect">
              <a:avLst>
                <a:gd name="adj" fmla="val 5783"/>
              </a:avLst>
            </a:prstGeom>
            <a:solidFill>
              <a:srgbClr val="505050"/>
            </a:solidFill>
            <a:ln w="28575" cap="flat" cmpd="sng" algn="ctr">
              <a:solidFill>
                <a:sysClr val="window" lastClr="FFFFFF">
                  <a:lumMod val="75000"/>
                </a:sysClr>
              </a:solidFill>
              <a:prstDash val="solid"/>
            </a:ln>
            <a:effectLst/>
          </p:spPr>
          <p:txBody>
            <a:bodyPr rot="0" spcFirstLastPara="0" vertOverflow="overflow" horzOverflow="overflow" vert="horz" wrap="square" lIns="91390" tIns="91390" rIns="91390" bIns="91390" numCol="1" spcCol="0" rtlCol="0" fromWordArt="0" anchor="b" anchorCtr="0" forceAA="0" compatLnSpc="1">
              <a:prstTxWarp prst="textNoShape">
                <a:avLst/>
              </a:prstTxWarp>
              <a:no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endParaRPr kumimoji="0" lang="en-US" sz="1100" u="none" strike="noStrike" kern="0" cap="none" spc="0" normalizeH="0" baseline="0" noProof="0">
                <a:ln>
                  <a:noFill/>
                </a:ln>
                <a:solidFill>
                  <a:sysClr val="windowText" lastClr="000000"/>
                </a:solidFill>
                <a:effectLst/>
                <a:uLnTx/>
                <a:uFillTx/>
                <a:latin typeface="+mj-lt"/>
                <a:ea typeface="+mn-ea"/>
                <a:cs typeface="+mn-cs"/>
              </a:endParaRPr>
            </a:p>
          </p:txBody>
        </p:sp>
        <p:sp>
          <p:nvSpPr>
            <p:cNvPr id="226" name="Rectangle 225"/>
            <p:cNvSpPr/>
            <p:nvPr/>
          </p:nvSpPr>
          <p:spPr>
            <a:xfrm>
              <a:off x="5459227" y="3546106"/>
              <a:ext cx="965365"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Container Registry</a:t>
              </a:r>
            </a:p>
          </p:txBody>
        </p:sp>
      </p:grpSp>
      <p:pic>
        <p:nvPicPr>
          <p:cNvPr id="227" name="Picture 226"/>
          <p:cNvPicPr>
            <a:picLocks noChangeAspect="1"/>
          </p:cNvPicPr>
          <p:nvPr/>
        </p:nvPicPr>
        <p:blipFill>
          <a:blip r:embed="rId16"/>
          <a:stretch>
            <a:fillRect/>
          </a:stretch>
        </p:blipFill>
        <p:spPr>
          <a:xfrm>
            <a:off x="5083276" y="3670587"/>
            <a:ext cx="565903" cy="565903"/>
          </a:xfrm>
          <a:prstGeom prst="rect">
            <a:avLst/>
          </a:prstGeom>
        </p:spPr>
      </p:pic>
      <p:pic>
        <p:nvPicPr>
          <p:cNvPr id="228" name="Picture 4" descr="https://zapier.cachefly.net/storage/services/59152a3a91bfe0ddd2fc9b978448593a.128x128.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9704" t="22115" r="21627" b="23287"/>
          <a:stretch/>
        </p:blipFill>
        <p:spPr bwMode="auto">
          <a:xfrm>
            <a:off x="663976" y="1505210"/>
            <a:ext cx="293484" cy="273126"/>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4" descr="https://zapier.cachefly.net/storage/services/59152a3a91bfe0ddd2fc9b978448593a.128x128.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9704" t="22115" r="21627" b="23287"/>
          <a:stretch/>
        </p:blipFill>
        <p:spPr bwMode="auto">
          <a:xfrm>
            <a:off x="2851527" y="1505210"/>
            <a:ext cx="293484" cy="273126"/>
          </a:xfrm>
          <a:prstGeom prst="rect">
            <a:avLst/>
          </a:prstGeom>
          <a:noFill/>
          <a:extLst>
            <a:ext uri="{909E8E84-426E-40DD-AFC4-6F175D3DCCD1}">
              <a14:hiddenFill xmlns:a14="http://schemas.microsoft.com/office/drawing/2010/main">
                <a:solidFill>
                  <a:srgbClr val="FFFFFF"/>
                </a:solidFill>
              </a14:hiddenFill>
            </a:ext>
          </a:extLst>
        </p:spPr>
      </p:pic>
      <p:pic>
        <p:nvPicPr>
          <p:cNvPr id="230" name="Picture 10" descr="https://wiki.jenkins-ci.org/download/attachments/2916393/logo-title.png?version=1&amp;modificationDate=1302753947000"/>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r="72203"/>
          <a:stretch/>
        </p:blipFill>
        <p:spPr bwMode="auto">
          <a:xfrm>
            <a:off x="663487" y="2496747"/>
            <a:ext cx="349426" cy="404286"/>
          </a:xfrm>
          <a:prstGeom prst="rect">
            <a:avLst/>
          </a:prstGeom>
          <a:noFill/>
          <a:extLst>
            <a:ext uri="{909E8E84-426E-40DD-AFC4-6F175D3DCCD1}">
              <a14:hiddenFill xmlns:a14="http://schemas.microsoft.com/office/drawing/2010/main">
                <a:solidFill>
                  <a:srgbClr val="FFFFFF"/>
                </a:solidFill>
              </a14:hiddenFill>
            </a:ext>
          </a:extLst>
        </p:spPr>
      </p:pic>
      <p:pic>
        <p:nvPicPr>
          <p:cNvPr id="231" name="Picture 4" descr="https://zapier.cachefly.net/storage/services/59152a3a91bfe0ddd2fc9b978448593a.128x128.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9704" t="22115" r="21627" b="23287"/>
          <a:stretch/>
        </p:blipFill>
        <p:spPr bwMode="auto">
          <a:xfrm>
            <a:off x="5039078" y="1505210"/>
            <a:ext cx="293484" cy="273126"/>
          </a:xfrm>
          <a:prstGeom prst="rect">
            <a:avLst/>
          </a:prstGeom>
          <a:noFill/>
          <a:extLst>
            <a:ext uri="{909E8E84-426E-40DD-AFC4-6F175D3DCCD1}">
              <a14:hiddenFill xmlns:a14="http://schemas.microsoft.com/office/drawing/2010/main">
                <a:solidFill>
                  <a:srgbClr val="FFFFFF"/>
                </a:solidFill>
              </a14:hiddenFill>
            </a:ext>
          </a:extLst>
        </p:spPr>
      </p:pic>
      <p:sp>
        <p:nvSpPr>
          <p:cNvPr id="232" name="Rectangle 231"/>
          <p:cNvSpPr/>
          <p:nvPr/>
        </p:nvSpPr>
        <p:spPr>
          <a:xfrm>
            <a:off x="5526483" y="3406687"/>
            <a:ext cx="965365"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rPr>
              <a:t>Azure</a:t>
            </a:r>
          </a:p>
        </p:txBody>
      </p:sp>
      <p:pic>
        <p:nvPicPr>
          <p:cNvPr id="233" name="Picture 4" descr="https://zapier.cachefly.net/storage/services/59152a3a91bfe0ddd2fc9b978448593a.128x128.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9704" t="22115" r="21627" b="23287"/>
          <a:stretch/>
        </p:blipFill>
        <p:spPr bwMode="auto">
          <a:xfrm>
            <a:off x="1362028" y="6201582"/>
            <a:ext cx="293484" cy="27312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9608925" y="1023366"/>
            <a:ext cx="2474888" cy="512182"/>
          </a:xfrm>
          <a:prstGeom prst="rect">
            <a:avLst/>
          </a:prstGeom>
          <a:solidFill>
            <a:schemeClr val="accent1">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2" name="Rectangle 321"/>
          <p:cNvSpPr/>
          <p:nvPr/>
        </p:nvSpPr>
        <p:spPr bwMode="auto">
          <a:xfrm>
            <a:off x="7683227" y="1599044"/>
            <a:ext cx="1262180" cy="1173862"/>
          </a:xfrm>
          <a:prstGeom prst="rect">
            <a:avLst/>
          </a:prstGeom>
          <a:solidFill>
            <a:schemeClr val="accent1">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23" name="Rectangle 322"/>
          <p:cNvSpPr/>
          <p:nvPr/>
        </p:nvSpPr>
        <p:spPr bwMode="auto">
          <a:xfrm>
            <a:off x="5073493" y="1618811"/>
            <a:ext cx="1262180" cy="1173862"/>
          </a:xfrm>
          <a:prstGeom prst="rect">
            <a:avLst/>
          </a:prstGeom>
          <a:solidFill>
            <a:schemeClr val="accent1">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4" name="Rectangle 323"/>
          <p:cNvSpPr/>
          <p:nvPr/>
        </p:nvSpPr>
        <p:spPr bwMode="auto">
          <a:xfrm>
            <a:off x="2900079" y="1618811"/>
            <a:ext cx="1262180" cy="1173862"/>
          </a:xfrm>
          <a:prstGeom prst="rect">
            <a:avLst/>
          </a:prstGeom>
          <a:solidFill>
            <a:schemeClr val="accent1">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5" name="Rectangle 324"/>
          <p:cNvSpPr/>
          <p:nvPr/>
        </p:nvSpPr>
        <p:spPr bwMode="auto">
          <a:xfrm>
            <a:off x="716094" y="1613284"/>
            <a:ext cx="1262180" cy="1173862"/>
          </a:xfrm>
          <a:prstGeom prst="rect">
            <a:avLst/>
          </a:prstGeom>
          <a:solidFill>
            <a:schemeClr val="accent1">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6" name="Rectangle 325"/>
          <p:cNvSpPr/>
          <p:nvPr/>
        </p:nvSpPr>
        <p:spPr bwMode="auto">
          <a:xfrm>
            <a:off x="621711" y="5152444"/>
            <a:ext cx="1979445" cy="1155191"/>
          </a:xfrm>
          <a:prstGeom prst="rect">
            <a:avLst/>
          </a:prstGeom>
          <a:solidFill>
            <a:schemeClr val="accent1">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bwMode="auto">
          <a:xfrm>
            <a:off x="5072435" y="3298075"/>
            <a:ext cx="1262180" cy="1173862"/>
          </a:xfrm>
          <a:prstGeom prst="rect">
            <a:avLst/>
          </a:prstGeom>
          <a:solidFill>
            <a:schemeClr val="accent1">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4" name="Rectangle 113">
            <a:extLst>
              <a:ext uri="{FF2B5EF4-FFF2-40B4-BE49-F238E27FC236}">
                <a16:creationId xmlns:a16="http://schemas.microsoft.com/office/drawing/2014/main" id="{A0F10D28-CC0E-49A4-B760-4A1F547C5EA4}"/>
              </a:ext>
            </a:extLst>
          </p:cNvPr>
          <p:cNvSpPr/>
          <p:nvPr/>
        </p:nvSpPr>
        <p:spPr bwMode="auto">
          <a:xfrm>
            <a:off x="9579970" y="1643162"/>
            <a:ext cx="2474888" cy="556728"/>
          </a:xfrm>
          <a:prstGeom prst="rect">
            <a:avLst/>
          </a:prstGeom>
          <a:solidFill>
            <a:schemeClr val="accent1">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2110566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2" name="Title 16">
            <a:extLst>
              <a:ext uri="{FF2B5EF4-FFF2-40B4-BE49-F238E27FC236}">
                <a16:creationId xmlns:a16="http://schemas.microsoft.com/office/drawing/2014/main" id="{249B4BFF-3036-4B7F-BD62-26C3582C0753}"/>
              </a:ext>
            </a:extLst>
          </p:cNvPr>
          <p:cNvSpPr txBox="1">
            <a:spLocks/>
          </p:cNvSpPr>
          <p:nvPr/>
        </p:nvSpPr>
        <p:spPr>
          <a:xfrm>
            <a:off x="600855" y="466302"/>
            <a:ext cx="11237870" cy="5763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3672" spc="-51">
                <a:gradFill>
                  <a:gsLst>
                    <a:gs pos="1250">
                      <a:srgbClr val="1A1A1A"/>
                    </a:gs>
                    <a:gs pos="100000">
                      <a:srgbClr val="1A1A1A"/>
                    </a:gs>
                  </a:gsLst>
                  <a:lin ang="5400000" scaled="0"/>
                </a:gradFill>
                <a:latin typeface="Segoe UI Semibold"/>
              </a:rPr>
              <a:t>Integrated end-to-end Kubernetes experience</a:t>
            </a:r>
          </a:p>
        </p:txBody>
      </p:sp>
      <p:grpSp>
        <p:nvGrpSpPr>
          <p:cNvPr id="114" name="Group 113">
            <a:extLst>
              <a:ext uri="{FF2B5EF4-FFF2-40B4-BE49-F238E27FC236}">
                <a16:creationId xmlns:a16="http://schemas.microsoft.com/office/drawing/2014/main" id="{F9A49386-F777-4312-B2A9-92F8148D56AE}"/>
              </a:ext>
            </a:extLst>
          </p:cNvPr>
          <p:cNvGrpSpPr/>
          <p:nvPr/>
        </p:nvGrpSpPr>
        <p:grpSpPr>
          <a:xfrm>
            <a:off x="6927893" y="4470836"/>
            <a:ext cx="2611289" cy="1112062"/>
            <a:chOff x="6791804" y="5178241"/>
            <a:chExt cx="2560320" cy="1090356"/>
          </a:xfrm>
        </p:grpSpPr>
        <p:sp>
          <p:nvSpPr>
            <p:cNvPr id="115" name="Rectangle: Rounded Corners 114">
              <a:extLst>
                <a:ext uri="{FF2B5EF4-FFF2-40B4-BE49-F238E27FC236}">
                  <a16:creationId xmlns:a16="http://schemas.microsoft.com/office/drawing/2014/main" id="{C36B1A41-FBD2-45EB-9072-5A48DA927B9E}"/>
                </a:ext>
              </a:extLst>
            </p:cNvPr>
            <p:cNvSpPr/>
            <p:nvPr/>
          </p:nvSpPr>
          <p:spPr bwMode="auto">
            <a:xfrm>
              <a:off x="6791804" y="5381629"/>
              <a:ext cx="2560320" cy="886968"/>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sp>
          <p:nvSpPr>
            <p:cNvPr id="116" name="Title 1">
              <a:extLst>
                <a:ext uri="{FF2B5EF4-FFF2-40B4-BE49-F238E27FC236}">
                  <a16:creationId xmlns:a16="http://schemas.microsoft.com/office/drawing/2014/main" id="{933F19DA-624C-4D4A-BF88-F57A2AF9EA34}"/>
                </a:ext>
              </a:extLst>
            </p:cNvPr>
            <p:cNvSpPr txBox="1">
              <a:spLocks/>
            </p:cNvSpPr>
            <p:nvPr/>
          </p:nvSpPr>
          <p:spPr>
            <a:xfrm>
              <a:off x="6791804" y="5178241"/>
              <a:ext cx="1697171" cy="15696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51304">
                <a:lnSpc>
                  <a:spcPct val="100000"/>
                </a:lnSpc>
                <a:defRPr/>
              </a:pPr>
              <a:r>
                <a:rPr lang="en-US" sz="1020" spc="0">
                  <a:solidFill>
                    <a:srgbClr val="3C3C41"/>
                  </a:solidFill>
                  <a:latin typeface="Segoe UI Semibold" panose="020B0702040204020203" pitchFamily="34" charset="0"/>
                  <a:cs typeface="Segoe UI Semibold" panose="020B0702040204020203" pitchFamily="34" charset="0"/>
                </a:rPr>
                <a:t>Database tier</a:t>
              </a:r>
            </a:p>
          </p:txBody>
        </p:sp>
      </p:grpSp>
      <p:grpSp>
        <p:nvGrpSpPr>
          <p:cNvPr id="117" name="Group 116">
            <a:extLst>
              <a:ext uri="{FF2B5EF4-FFF2-40B4-BE49-F238E27FC236}">
                <a16:creationId xmlns:a16="http://schemas.microsoft.com/office/drawing/2014/main" id="{F7462FB5-FE86-4C1B-87D9-337E50708A6A}"/>
              </a:ext>
            </a:extLst>
          </p:cNvPr>
          <p:cNvGrpSpPr/>
          <p:nvPr/>
        </p:nvGrpSpPr>
        <p:grpSpPr>
          <a:xfrm>
            <a:off x="6927892" y="1372521"/>
            <a:ext cx="2611289" cy="2819346"/>
            <a:chOff x="6791803" y="2140401"/>
            <a:chExt cx="2560320" cy="2764316"/>
          </a:xfrm>
        </p:grpSpPr>
        <p:sp>
          <p:nvSpPr>
            <p:cNvPr id="118" name="Rectangle: Rounded Corners 117">
              <a:extLst>
                <a:ext uri="{FF2B5EF4-FFF2-40B4-BE49-F238E27FC236}">
                  <a16:creationId xmlns:a16="http://schemas.microsoft.com/office/drawing/2014/main" id="{77441C5F-EBF3-4A4A-AB03-DF0BF95C61C3}"/>
                </a:ext>
              </a:extLst>
            </p:cNvPr>
            <p:cNvSpPr/>
            <p:nvPr/>
          </p:nvSpPr>
          <p:spPr bwMode="auto">
            <a:xfrm>
              <a:off x="6791803" y="2344397"/>
              <a:ext cx="2560320" cy="256032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sp>
          <p:nvSpPr>
            <p:cNvPr id="119" name="Title 1">
              <a:extLst>
                <a:ext uri="{FF2B5EF4-FFF2-40B4-BE49-F238E27FC236}">
                  <a16:creationId xmlns:a16="http://schemas.microsoft.com/office/drawing/2014/main" id="{3C6B0A75-678D-4338-B9FA-6FFD600376C9}"/>
                </a:ext>
              </a:extLst>
            </p:cNvPr>
            <p:cNvSpPr txBox="1">
              <a:spLocks/>
            </p:cNvSpPr>
            <p:nvPr/>
          </p:nvSpPr>
          <p:spPr>
            <a:xfrm>
              <a:off x="6791803" y="2140401"/>
              <a:ext cx="1697171" cy="15696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51304">
                <a:lnSpc>
                  <a:spcPct val="100000"/>
                </a:lnSpc>
                <a:defRPr/>
              </a:pPr>
              <a:r>
                <a:rPr lang="en-US" sz="1020" spc="0">
                  <a:solidFill>
                    <a:srgbClr val="000000"/>
                  </a:solidFill>
                  <a:latin typeface="Segoe UI Semibold" panose="020B0702040204020203" pitchFamily="34" charset="0"/>
                  <a:cs typeface="Segoe UI Semibold" panose="020B0702040204020203" pitchFamily="34" charset="0"/>
                </a:rPr>
                <a:t>AKS production cluster</a:t>
              </a:r>
            </a:p>
          </p:txBody>
        </p:sp>
      </p:grpSp>
      <p:cxnSp>
        <p:nvCxnSpPr>
          <p:cNvPr id="120" name="Straight Arrow Connector 119">
            <a:extLst>
              <a:ext uri="{FF2B5EF4-FFF2-40B4-BE49-F238E27FC236}">
                <a16:creationId xmlns:a16="http://schemas.microsoft.com/office/drawing/2014/main" id="{84DF9C76-66D0-4636-8CBC-D4EB184597E4}"/>
              </a:ext>
            </a:extLst>
          </p:cNvPr>
          <p:cNvCxnSpPr>
            <a:cxnSpLocks/>
            <a:stCxn id="173" idx="3"/>
            <a:endCxn id="180" idx="1"/>
          </p:cNvCxnSpPr>
          <p:nvPr/>
        </p:nvCxnSpPr>
        <p:spPr>
          <a:xfrm flipV="1">
            <a:off x="4557567" y="2886223"/>
            <a:ext cx="766955" cy="1"/>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4E55B46D-2E41-41CB-915F-B57864EE523B}"/>
              </a:ext>
            </a:extLst>
          </p:cNvPr>
          <p:cNvCxnSpPr>
            <a:cxnSpLocks/>
            <a:stCxn id="129" idx="3"/>
            <a:endCxn id="173" idx="1"/>
          </p:cNvCxnSpPr>
          <p:nvPr/>
        </p:nvCxnSpPr>
        <p:spPr>
          <a:xfrm>
            <a:off x="3281303" y="2886223"/>
            <a:ext cx="436921" cy="0"/>
          </a:xfrm>
          <a:prstGeom prst="straightConnector1">
            <a:avLst/>
          </a:prstGeom>
          <a:ln w="12700">
            <a:solidFill>
              <a:srgbClr val="3C3C4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5F8D1CCD-4B1C-4765-BDE9-7A49D90E8E67}"/>
              </a:ext>
            </a:extLst>
          </p:cNvPr>
          <p:cNvGrpSpPr/>
          <p:nvPr/>
        </p:nvGrpSpPr>
        <p:grpSpPr>
          <a:xfrm>
            <a:off x="1291179" y="2030608"/>
            <a:ext cx="1990124" cy="1498535"/>
            <a:chOff x="878880" y="2642256"/>
            <a:chExt cx="1951279" cy="1469285"/>
          </a:xfrm>
        </p:grpSpPr>
        <p:sp>
          <p:nvSpPr>
            <p:cNvPr id="129" name="Rectangle: Rounded Corners 128">
              <a:extLst>
                <a:ext uri="{FF2B5EF4-FFF2-40B4-BE49-F238E27FC236}">
                  <a16:creationId xmlns:a16="http://schemas.microsoft.com/office/drawing/2014/main" id="{690F7881-F217-4A29-8892-37A9E78B0BC8}"/>
                </a:ext>
              </a:extLst>
            </p:cNvPr>
            <p:cNvSpPr/>
            <p:nvPr/>
          </p:nvSpPr>
          <p:spPr bwMode="auto">
            <a:xfrm>
              <a:off x="878880" y="2850801"/>
              <a:ext cx="1951279" cy="1260740"/>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sp>
          <p:nvSpPr>
            <p:cNvPr id="130" name="Title 1">
              <a:extLst>
                <a:ext uri="{FF2B5EF4-FFF2-40B4-BE49-F238E27FC236}">
                  <a16:creationId xmlns:a16="http://schemas.microsoft.com/office/drawing/2014/main" id="{3B8573A9-EBFD-4FFF-BCBE-81E0C6DB6AF5}"/>
                </a:ext>
              </a:extLst>
            </p:cNvPr>
            <p:cNvSpPr txBox="1">
              <a:spLocks/>
            </p:cNvSpPr>
            <p:nvPr/>
          </p:nvSpPr>
          <p:spPr>
            <a:xfrm>
              <a:off x="878880" y="2642256"/>
              <a:ext cx="745963" cy="15696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51304">
                <a:lnSpc>
                  <a:spcPct val="100000"/>
                </a:lnSpc>
                <a:defRPr/>
              </a:pPr>
              <a:r>
                <a:rPr lang="en-US" sz="1020" spc="0">
                  <a:solidFill>
                    <a:srgbClr val="000000"/>
                  </a:solidFill>
                  <a:latin typeface="Segoe UI Semibold" panose="020B0702040204020203" pitchFamily="34" charset="0"/>
                  <a:cs typeface="Segoe UI Semibold" panose="020B0702040204020203" pitchFamily="34" charset="0"/>
                </a:rPr>
                <a:t>Inner loop</a:t>
              </a:r>
            </a:p>
          </p:txBody>
        </p:sp>
        <p:grpSp>
          <p:nvGrpSpPr>
            <p:cNvPr id="132" name="Group 131">
              <a:extLst>
                <a:ext uri="{FF2B5EF4-FFF2-40B4-BE49-F238E27FC236}">
                  <a16:creationId xmlns:a16="http://schemas.microsoft.com/office/drawing/2014/main" id="{62BB8998-EE30-4A28-9530-31D9D926092F}"/>
                </a:ext>
              </a:extLst>
            </p:cNvPr>
            <p:cNvGrpSpPr/>
            <p:nvPr/>
          </p:nvGrpSpPr>
          <p:grpSpPr>
            <a:xfrm>
              <a:off x="1037074" y="3060866"/>
              <a:ext cx="1634891" cy="835737"/>
              <a:chOff x="1019964" y="3074776"/>
              <a:chExt cx="1634891" cy="835737"/>
            </a:xfrm>
          </p:grpSpPr>
          <p:grpSp>
            <p:nvGrpSpPr>
              <p:cNvPr id="133" name="Group 132">
                <a:extLst>
                  <a:ext uri="{FF2B5EF4-FFF2-40B4-BE49-F238E27FC236}">
                    <a16:creationId xmlns:a16="http://schemas.microsoft.com/office/drawing/2014/main" id="{BBF86144-B77C-454F-9424-502640A868BB}"/>
                  </a:ext>
                </a:extLst>
              </p:cNvPr>
              <p:cNvGrpSpPr/>
              <p:nvPr/>
            </p:nvGrpSpPr>
            <p:grpSpPr>
              <a:xfrm>
                <a:off x="1590949" y="3558085"/>
                <a:ext cx="528081" cy="166688"/>
                <a:chOff x="5304203" y="3756536"/>
                <a:chExt cx="528081" cy="166688"/>
              </a:xfrm>
            </p:grpSpPr>
            <p:cxnSp>
              <p:nvCxnSpPr>
                <p:cNvPr id="154" name="Straight Arrow Connector 153">
                  <a:extLst>
                    <a:ext uri="{FF2B5EF4-FFF2-40B4-BE49-F238E27FC236}">
                      <a16:creationId xmlns:a16="http://schemas.microsoft.com/office/drawing/2014/main" id="{24472835-0C89-4E94-BF3A-2E2132D9A2DF}"/>
                    </a:ext>
                  </a:extLst>
                </p:cNvPr>
                <p:cNvCxnSpPr>
                  <a:cxnSpLocks/>
                </p:cNvCxnSpPr>
                <p:nvPr/>
              </p:nvCxnSpPr>
              <p:spPr>
                <a:xfrm>
                  <a:off x="5304203" y="3756536"/>
                  <a:ext cx="521923" cy="0"/>
                </a:xfrm>
                <a:prstGeom prst="straightConnector1">
                  <a:avLst/>
                </a:prstGeom>
                <a:ln w="12700">
                  <a:solidFill>
                    <a:srgbClr val="3C3C4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25F02CF3-EDC6-46C4-B6FC-7D0A7856373B}"/>
                    </a:ext>
                  </a:extLst>
                </p:cNvPr>
                <p:cNvCxnSpPr>
                  <a:cxnSpLocks/>
                </p:cNvCxnSpPr>
                <p:nvPr/>
              </p:nvCxnSpPr>
              <p:spPr>
                <a:xfrm flipH="1">
                  <a:off x="5310361" y="3923224"/>
                  <a:ext cx="521923" cy="0"/>
                </a:xfrm>
                <a:prstGeom prst="straightConnector1">
                  <a:avLst/>
                </a:prstGeom>
                <a:ln w="12700">
                  <a:solidFill>
                    <a:srgbClr val="3C3C4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34" name="Title 1">
                <a:extLst>
                  <a:ext uri="{FF2B5EF4-FFF2-40B4-BE49-F238E27FC236}">
                    <a16:creationId xmlns:a16="http://schemas.microsoft.com/office/drawing/2014/main" id="{E4D62A58-01E2-4A3A-A4B5-141DD72D2152}"/>
                  </a:ext>
                </a:extLst>
              </p:cNvPr>
              <p:cNvSpPr txBox="1">
                <a:spLocks/>
              </p:cNvSpPr>
              <p:nvPr/>
            </p:nvSpPr>
            <p:spPr>
              <a:xfrm>
                <a:off x="1634250" y="3372344"/>
                <a:ext cx="440540" cy="153885"/>
              </a:xfrm>
              <a:prstGeom prst="rect">
                <a:avLst/>
              </a:prstGeom>
            </p:spPr>
            <p:txBody>
              <a:bodyPr vert="horz" wrap="square" lIns="0" tIns="0" rIns="0" bIns="0"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51304">
                  <a:defRPr/>
                </a:pPr>
                <a:r>
                  <a:rPr lang="en-US" sz="816" spc="0">
                    <a:solidFill>
                      <a:srgbClr val="000000"/>
                    </a:solidFill>
                    <a:latin typeface="Segoe UI"/>
                    <a:cs typeface="Segoe UI Semibold" panose="020B0702040204020203" pitchFamily="34" charset="0"/>
                  </a:rPr>
                  <a:t>Test</a:t>
                </a:r>
              </a:p>
            </p:txBody>
          </p:sp>
          <p:sp>
            <p:nvSpPr>
              <p:cNvPr id="135" name="Title 1">
                <a:extLst>
                  <a:ext uri="{FF2B5EF4-FFF2-40B4-BE49-F238E27FC236}">
                    <a16:creationId xmlns:a16="http://schemas.microsoft.com/office/drawing/2014/main" id="{15E8A82A-305A-46D3-8D0F-29EC5FC5C3C1}"/>
                  </a:ext>
                </a:extLst>
              </p:cNvPr>
              <p:cNvSpPr txBox="1">
                <a:spLocks/>
              </p:cNvSpPr>
              <p:nvPr/>
            </p:nvSpPr>
            <p:spPr>
              <a:xfrm>
                <a:off x="1634250" y="3756628"/>
                <a:ext cx="440540" cy="153885"/>
              </a:xfrm>
              <a:prstGeom prst="rect">
                <a:avLst/>
              </a:prstGeom>
            </p:spPr>
            <p:txBody>
              <a:bodyPr vert="horz" wrap="square" lIns="0" tIns="0" rIns="0" bIns="0"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51304">
                  <a:defRPr/>
                </a:pPr>
                <a:r>
                  <a:rPr lang="en-US" sz="816" spc="0">
                    <a:solidFill>
                      <a:srgbClr val="000000"/>
                    </a:solidFill>
                    <a:latin typeface="Segoe UI"/>
                    <a:cs typeface="Segoe UI Semibold" panose="020B0702040204020203" pitchFamily="34" charset="0"/>
                  </a:rPr>
                  <a:t>Debug</a:t>
                </a:r>
              </a:p>
            </p:txBody>
          </p:sp>
          <p:sp>
            <p:nvSpPr>
              <p:cNvPr id="136" name="Title 1">
                <a:extLst>
                  <a:ext uri="{FF2B5EF4-FFF2-40B4-BE49-F238E27FC236}">
                    <a16:creationId xmlns:a16="http://schemas.microsoft.com/office/drawing/2014/main" id="{610C034A-7EE1-4C43-B63A-2E4384AB1ABC}"/>
                  </a:ext>
                </a:extLst>
              </p:cNvPr>
              <p:cNvSpPr txBox="1">
                <a:spLocks/>
              </p:cNvSpPr>
              <p:nvPr/>
            </p:nvSpPr>
            <p:spPr>
              <a:xfrm>
                <a:off x="1019964" y="3074776"/>
                <a:ext cx="601487" cy="251094"/>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51304">
                  <a:lnSpc>
                    <a:spcPct val="100000"/>
                  </a:lnSpc>
                  <a:defRPr/>
                </a:pPr>
                <a:r>
                  <a:rPr lang="en-US" sz="816" spc="0">
                    <a:solidFill>
                      <a:srgbClr val="000000"/>
                    </a:solidFill>
                    <a:latin typeface="Segoe UI Semibold" panose="020B0702040204020203" pitchFamily="34" charset="0"/>
                    <a:cs typeface="Segoe UI Semibold" panose="020B0702040204020203" pitchFamily="34" charset="0"/>
                  </a:rPr>
                  <a:t>Azure </a:t>
                </a:r>
                <a:r>
                  <a:rPr lang="en-US" sz="816" spc="0" err="1">
                    <a:solidFill>
                      <a:srgbClr val="000000"/>
                    </a:solidFill>
                    <a:latin typeface="Segoe UI Semibold" panose="020B0702040204020203" pitchFamily="34" charset="0"/>
                    <a:cs typeface="Segoe UI Semibold" panose="020B0702040204020203" pitchFamily="34" charset="0"/>
                  </a:rPr>
                  <a:t>DevSpaces</a:t>
                </a:r>
                <a:endParaRPr lang="en-US" sz="816" spc="0">
                  <a:solidFill>
                    <a:srgbClr val="000000"/>
                  </a:solidFill>
                  <a:latin typeface="Segoe UI Semibold" panose="020B0702040204020203" pitchFamily="34" charset="0"/>
                  <a:cs typeface="Segoe UI Semibold" panose="020B0702040204020203" pitchFamily="34" charset="0"/>
                </a:endParaRPr>
              </a:p>
            </p:txBody>
          </p:sp>
          <p:sp>
            <p:nvSpPr>
              <p:cNvPr id="137" name="Title 1">
                <a:extLst>
                  <a:ext uri="{FF2B5EF4-FFF2-40B4-BE49-F238E27FC236}">
                    <a16:creationId xmlns:a16="http://schemas.microsoft.com/office/drawing/2014/main" id="{B7120595-5516-4BD4-A58E-A54327C90662}"/>
                  </a:ext>
                </a:extLst>
              </p:cNvPr>
              <p:cNvSpPr txBox="1">
                <a:spLocks/>
              </p:cNvSpPr>
              <p:nvPr/>
            </p:nvSpPr>
            <p:spPr>
              <a:xfrm>
                <a:off x="2121266" y="3074776"/>
                <a:ext cx="533589" cy="251094"/>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51304">
                  <a:lnSpc>
                    <a:spcPct val="100000"/>
                  </a:lnSpc>
                  <a:defRPr/>
                </a:pPr>
                <a:r>
                  <a:rPr lang="en-US" sz="816" spc="0">
                    <a:solidFill>
                      <a:srgbClr val="000000"/>
                    </a:solidFill>
                    <a:latin typeface="Segoe UI Semibold" panose="020B0702040204020203" pitchFamily="34" charset="0"/>
                    <a:cs typeface="Segoe UI Semibold" panose="020B0702040204020203" pitchFamily="34" charset="0"/>
                  </a:rPr>
                  <a:t>AKS dev cluster</a:t>
                </a:r>
              </a:p>
            </p:txBody>
          </p:sp>
          <p:grpSp>
            <p:nvGrpSpPr>
              <p:cNvPr id="138" name="Group 137">
                <a:extLst>
                  <a:ext uri="{FF2B5EF4-FFF2-40B4-BE49-F238E27FC236}">
                    <a16:creationId xmlns:a16="http://schemas.microsoft.com/office/drawing/2014/main" id="{AB006B43-9940-4C9F-83E7-BF04C92598D2}"/>
                  </a:ext>
                </a:extLst>
              </p:cNvPr>
              <p:cNvGrpSpPr/>
              <p:nvPr/>
            </p:nvGrpSpPr>
            <p:grpSpPr>
              <a:xfrm>
                <a:off x="1054184" y="3372344"/>
                <a:ext cx="533589" cy="533589"/>
                <a:chOff x="1054184" y="3372344"/>
                <a:chExt cx="533589" cy="533589"/>
              </a:xfrm>
            </p:grpSpPr>
            <p:sp>
              <p:nvSpPr>
                <p:cNvPr id="152" name="Rectangle: Rounded Corners 151">
                  <a:extLst>
                    <a:ext uri="{FF2B5EF4-FFF2-40B4-BE49-F238E27FC236}">
                      <a16:creationId xmlns:a16="http://schemas.microsoft.com/office/drawing/2014/main" id="{09BB0A20-8C2E-4345-AEBB-16C70AFFC1EB}"/>
                    </a:ext>
                  </a:extLst>
                </p:cNvPr>
                <p:cNvSpPr/>
                <p:nvPr/>
              </p:nvSpPr>
              <p:spPr bwMode="auto">
                <a:xfrm>
                  <a:off x="1054184" y="3372344"/>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153" name="Graphic 152">
                  <a:extLst>
                    <a:ext uri="{FF2B5EF4-FFF2-40B4-BE49-F238E27FC236}">
                      <a16:creationId xmlns:a16="http://schemas.microsoft.com/office/drawing/2014/main" id="{E752CBF6-2096-4868-B99B-17A824F00F29}"/>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1814" y="3469974"/>
                  <a:ext cx="338328" cy="338328"/>
                </a:xfrm>
                <a:prstGeom prst="rect">
                  <a:avLst/>
                </a:prstGeom>
              </p:spPr>
            </p:pic>
          </p:grpSp>
          <p:grpSp>
            <p:nvGrpSpPr>
              <p:cNvPr id="139" name="Group 138">
                <a:extLst>
                  <a:ext uri="{FF2B5EF4-FFF2-40B4-BE49-F238E27FC236}">
                    <a16:creationId xmlns:a16="http://schemas.microsoft.com/office/drawing/2014/main" id="{A56010A9-5979-4BA2-AED1-764815BF1C8C}"/>
                  </a:ext>
                </a:extLst>
              </p:cNvPr>
              <p:cNvGrpSpPr/>
              <p:nvPr/>
            </p:nvGrpSpPr>
            <p:grpSpPr>
              <a:xfrm>
                <a:off x="2121266" y="3372344"/>
                <a:ext cx="533589" cy="533589"/>
                <a:chOff x="2121266" y="3372344"/>
                <a:chExt cx="533589" cy="533589"/>
              </a:xfrm>
            </p:grpSpPr>
            <p:sp>
              <p:nvSpPr>
                <p:cNvPr id="140" name="Rectangle: Rounded Corners 139">
                  <a:extLst>
                    <a:ext uri="{FF2B5EF4-FFF2-40B4-BE49-F238E27FC236}">
                      <a16:creationId xmlns:a16="http://schemas.microsoft.com/office/drawing/2014/main" id="{0D9D9811-3C31-40BE-9D72-29BCBC145A44}"/>
                    </a:ext>
                  </a:extLst>
                </p:cNvPr>
                <p:cNvSpPr/>
                <p:nvPr/>
              </p:nvSpPr>
              <p:spPr bwMode="auto">
                <a:xfrm>
                  <a:off x="2121266" y="3372344"/>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grpSp>
              <p:nvGrpSpPr>
                <p:cNvPr id="141" name="Group 140">
                  <a:extLst>
                    <a:ext uri="{FF2B5EF4-FFF2-40B4-BE49-F238E27FC236}">
                      <a16:creationId xmlns:a16="http://schemas.microsoft.com/office/drawing/2014/main" id="{B0D63E24-13CF-48C2-AC64-0285088CA3FE}"/>
                    </a:ext>
                  </a:extLst>
                </p:cNvPr>
                <p:cNvGrpSpPr/>
                <p:nvPr/>
              </p:nvGrpSpPr>
              <p:grpSpPr>
                <a:xfrm>
                  <a:off x="2210352" y="3471248"/>
                  <a:ext cx="355417" cy="335781"/>
                  <a:chOff x="3172902" y="4132385"/>
                  <a:chExt cx="355417" cy="335781"/>
                </a:xfrm>
              </p:grpSpPr>
              <p:grpSp>
                <p:nvGrpSpPr>
                  <p:cNvPr id="142" name="Group 141">
                    <a:extLst>
                      <a:ext uri="{FF2B5EF4-FFF2-40B4-BE49-F238E27FC236}">
                        <a16:creationId xmlns:a16="http://schemas.microsoft.com/office/drawing/2014/main" id="{D502A8EF-F6B7-45B9-8DF9-B5D34D8C9AED}"/>
                      </a:ext>
                    </a:extLst>
                  </p:cNvPr>
                  <p:cNvGrpSpPr/>
                  <p:nvPr/>
                </p:nvGrpSpPr>
                <p:grpSpPr>
                  <a:xfrm>
                    <a:off x="3234030" y="4132385"/>
                    <a:ext cx="233160" cy="110531"/>
                    <a:chOff x="3234867" y="4132385"/>
                    <a:chExt cx="233160" cy="110531"/>
                  </a:xfrm>
                </p:grpSpPr>
                <p:sp>
                  <p:nvSpPr>
                    <p:cNvPr id="150" name="Freeform: Shape 149">
                      <a:extLst>
                        <a:ext uri="{FF2B5EF4-FFF2-40B4-BE49-F238E27FC236}">
                          <a16:creationId xmlns:a16="http://schemas.microsoft.com/office/drawing/2014/main" id="{44BCAFFF-4398-4B11-969F-6CFD52AD7519}"/>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6350" cap="rnd">
                      <a:solidFill>
                        <a:srgbClr val="0078D4"/>
                      </a:solidFill>
                      <a:prstDash val="solid"/>
                      <a:round/>
                    </a:ln>
                  </p:spPr>
                  <p:txBody>
                    <a:bodyPr wrap="square">
                      <a:noAutofit/>
                    </a:bodyPr>
                    <a:lstStyle/>
                    <a:p>
                      <a:pPr defTabSz="932563">
                        <a:defRPr/>
                      </a:pPr>
                      <a:endParaRPr lang="en-US">
                        <a:solidFill>
                          <a:srgbClr val="FFFFFF"/>
                        </a:solidFill>
                        <a:latin typeface="Segoe UI"/>
                      </a:endParaRPr>
                    </a:p>
                  </p:txBody>
                </p:sp>
                <p:sp>
                  <p:nvSpPr>
                    <p:cNvPr id="151" name="Freeform: Shape 150">
                      <a:extLst>
                        <a:ext uri="{FF2B5EF4-FFF2-40B4-BE49-F238E27FC236}">
                          <a16:creationId xmlns:a16="http://schemas.microsoft.com/office/drawing/2014/main" id="{6640DEF5-CAB1-4277-9230-464F3DBBCD14}"/>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6350" cap="rnd">
                      <a:solidFill>
                        <a:srgbClr val="0078D4"/>
                      </a:solidFill>
                      <a:prstDash val="solid"/>
                      <a:round/>
                    </a:ln>
                  </p:spPr>
                  <p:txBody>
                    <a:bodyPr wrap="square">
                      <a:noAutofit/>
                    </a:bodyPr>
                    <a:lstStyle/>
                    <a:p>
                      <a:pPr defTabSz="932563">
                        <a:defRPr/>
                      </a:pPr>
                      <a:endParaRPr lang="en-US">
                        <a:solidFill>
                          <a:srgbClr val="FFFFFF"/>
                        </a:solidFill>
                        <a:latin typeface="Segoe UI"/>
                      </a:endParaRPr>
                    </a:p>
                  </p:txBody>
                </p:sp>
              </p:grpSp>
              <p:grpSp>
                <p:nvGrpSpPr>
                  <p:cNvPr id="143" name="Group 142">
                    <a:extLst>
                      <a:ext uri="{FF2B5EF4-FFF2-40B4-BE49-F238E27FC236}">
                        <a16:creationId xmlns:a16="http://schemas.microsoft.com/office/drawing/2014/main" id="{3DBB0907-9D94-4C9A-BC01-D029BF10A32C}"/>
                      </a:ext>
                    </a:extLst>
                  </p:cNvPr>
                  <p:cNvGrpSpPr/>
                  <p:nvPr/>
                </p:nvGrpSpPr>
                <p:grpSpPr>
                  <a:xfrm>
                    <a:off x="3172902" y="4245010"/>
                    <a:ext cx="355417" cy="110531"/>
                    <a:chOff x="3172902" y="4244590"/>
                    <a:chExt cx="355417" cy="110531"/>
                  </a:xfrm>
                </p:grpSpPr>
                <p:sp>
                  <p:nvSpPr>
                    <p:cNvPr id="147" name="Freeform: Shape 146">
                      <a:extLst>
                        <a:ext uri="{FF2B5EF4-FFF2-40B4-BE49-F238E27FC236}">
                          <a16:creationId xmlns:a16="http://schemas.microsoft.com/office/drawing/2014/main" id="{0A70124D-7054-469D-9856-7CF75A57A5A3}"/>
                        </a:ext>
                      </a:extLst>
                    </p:cNvPr>
                    <p:cNvSpPr/>
                    <p:nvPr/>
                  </p:nvSpPr>
                  <p:spPr>
                    <a:xfrm>
                      <a:off x="317290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6350" cap="rnd">
                      <a:solidFill>
                        <a:srgbClr val="0078D4"/>
                      </a:solidFill>
                      <a:prstDash val="solid"/>
                      <a:round/>
                    </a:ln>
                  </p:spPr>
                  <p:txBody>
                    <a:bodyPr wrap="square">
                      <a:noAutofit/>
                    </a:bodyPr>
                    <a:lstStyle/>
                    <a:p>
                      <a:pPr defTabSz="932563">
                        <a:defRPr/>
                      </a:pPr>
                      <a:endParaRPr lang="en-US">
                        <a:solidFill>
                          <a:srgbClr val="FFFFFF"/>
                        </a:solidFill>
                        <a:latin typeface="Segoe UI"/>
                      </a:endParaRPr>
                    </a:p>
                  </p:txBody>
                </p:sp>
                <p:sp>
                  <p:nvSpPr>
                    <p:cNvPr id="148" name="Freeform: Shape 147">
                      <a:extLst>
                        <a:ext uri="{FF2B5EF4-FFF2-40B4-BE49-F238E27FC236}">
                          <a16:creationId xmlns:a16="http://schemas.microsoft.com/office/drawing/2014/main" id="{D39A64A2-3567-40E6-9858-AC3760D79F59}"/>
                        </a:ext>
                      </a:extLst>
                    </p:cNvPr>
                    <p:cNvSpPr/>
                    <p:nvPr/>
                  </p:nvSpPr>
                  <p:spPr>
                    <a:xfrm>
                      <a:off x="330018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6350" cap="rnd">
                      <a:solidFill>
                        <a:srgbClr val="0078D4"/>
                      </a:solidFill>
                      <a:prstDash val="solid"/>
                      <a:round/>
                    </a:ln>
                  </p:spPr>
                  <p:txBody>
                    <a:bodyPr wrap="square">
                      <a:noAutofit/>
                    </a:bodyPr>
                    <a:lstStyle/>
                    <a:p>
                      <a:pPr defTabSz="932563">
                        <a:defRPr/>
                      </a:pPr>
                      <a:endParaRPr lang="en-US">
                        <a:solidFill>
                          <a:srgbClr val="FFFFFF"/>
                        </a:solidFill>
                        <a:latin typeface="Segoe UI"/>
                      </a:endParaRPr>
                    </a:p>
                  </p:txBody>
                </p:sp>
                <p:sp>
                  <p:nvSpPr>
                    <p:cNvPr id="149" name="Freeform: Shape 148">
                      <a:extLst>
                        <a:ext uri="{FF2B5EF4-FFF2-40B4-BE49-F238E27FC236}">
                          <a16:creationId xmlns:a16="http://schemas.microsoft.com/office/drawing/2014/main" id="{B2C9E0BB-62F3-4D69-9DCF-CE5472B9F3C5}"/>
                        </a:ext>
                      </a:extLst>
                    </p:cNvPr>
                    <p:cNvSpPr/>
                    <p:nvPr/>
                  </p:nvSpPr>
                  <p:spPr>
                    <a:xfrm>
                      <a:off x="342746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6350" cap="rnd">
                      <a:solidFill>
                        <a:srgbClr val="0078D4"/>
                      </a:solidFill>
                      <a:prstDash val="solid"/>
                      <a:round/>
                    </a:ln>
                  </p:spPr>
                  <p:txBody>
                    <a:bodyPr wrap="square">
                      <a:noAutofit/>
                    </a:bodyPr>
                    <a:lstStyle/>
                    <a:p>
                      <a:pPr defTabSz="932563">
                        <a:defRPr/>
                      </a:pPr>
                      <a:endParaRPr lang="en-US">
                        <a:solidFill>
                          <a:srgbClr val="FFFFFF"/>
                        </a:solidFill>
                        <a:latin typeface="Segoe UI"/>
                      </a:endParaRPr>
                    </a:p>
                  </p:txBody>
                </p:sp>
              </p:grpSp>
              <p:grpSp>
                <p:nvGrpSpPr>
                  <p:cNvPr id="144" name="Group 143">
                    <a:extLst>
                      <a:ext uri="{FF2B5EF4-FFF2-40B4-BE49-F238E27FC236}">
                        <a16:creationId xmlns:a16="http://schemas.microsoft.com/office/drawing/2014/main" id="{E5DBEF36-A679-4CBF-994F-5B3B5BAF3F68}"/>
                      </a:ext>
                    </a:extLst>
                  </p:cNvPr>
                  <p:cNvGrpSpPr/>
                  <p:nvPr/>
                </p:nvGrpSpPr>
                <p:grpSpPr>
                  <a:xfrm>
                    <a:off x="3234030" y="4357635"/>
                    <a:ext cx="233160" cy="110531"/>
                    <a:chOff x="3234867" y="4132385"/>
                    <a:chExt cx="233160" cy="110531"/>
                  </a:xfrm>
                </p:grpSpPr>
                <p:sp>
                  <p:nvSpPr>
                    <p:cNvPr id="145" name="Freeform: Shape 144">
                      <a:extLst>
                        <a:ext uri="{FF2B5EF4-FFF2-40B4-BE49-F238E27FC236}">
                          <a16:creationId xmlns:a16="http://schemas.microsoft.com/office/drawing/2014/main" id="{2AB40C72-027C-4917-B09B-F5706D21091E}"/>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6350" cap="rnd">
                      <a:solidFill>
                        <a:srgbClr val="0078D4"/>
                      </a:solidFill>
                      <a:prstDash val="solid"/>
                      <a:round/>
                    </a:ln>
                  </p:spPr>
                  <p:txBody>
                    <a:bodyPr wrap="square">
                      <a:noAutofit/>
                    </a:bodyPr>
                    <a:lstStyle/>
                    <a:p>
                      <a:pPr defTabSz="932563">
                        <a:defRPr/>
                      </a:pPr>
                      <a:endParaRPr lang="en-US">
                        <a:solidFill>
                          <a:srgbClr val="FFFFFF"/>
                        </a:solidFill>
                        <a:latin typeface="Segoe UI"/>
                      </a:endParaRPr>
                    </a:p>
                  </p:txBody>
                </p:sp>
                <p:sp>
                  <p:nvSpPr>
                    <p:cNvPr id="146" name="Freeform: Shape 145">
                      <a:extLst>
                        <a:ext uri="{FF2B5EF4-FFF2-40B4-BE49-F238E27FC236}">
                          <a16:creationId xmlns:a16="http://schemas.microsoft.com/office/drawing/2014/main" id="{F72A7844-1C8C-4183-8672-91F65A613939}"/>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6350" cap="rnd">
                      <a:solidFill>
                        <a:srgbClr val="0078D4"/>
                      </a:solidFill>
                      <a:prstDash val="solid"/>
                      <a:round/>
                    </a:ln>
                  </p:spPr>
                  <p:txBody>
                    <a:bodyPr wrap="square">
                      <a:noAutofit/>
                    </a:bodyPr>
                    <a:lstStyle/>
                    <a:p>
                      <a:pPr defTabSz="932563">
                        <a:defRPr/>
                      </a:pPr>
                      <a:endParaRPr lang="en-US">
                        <a:solidFill>
                          <a:srgbClr val="FFFFFF"/>
                        </a:solidFill>
                        <a:latin typeface="Segoe UI"/>
                      </a:endParaRPr>
                    </a:p>
                  </p:txBody>
                </p:sp>
              </p:grpSp>
            </p:grpSp>
          </p:grpSp>
        </p:grpSp>
      </p:grpSp>
      <p:grpSp>
        <p:nvGrpSpPr>
          <p:cNvPr id="156" name="Group 155">
            <a:extLst>
              <a:ext uri="{FF2B5EF4-FFF2-40B4-BE49-F238E27FC236}">
                <a16:creationId xmlns:a16="http://schemas.microsoft.com/office/drawing/2014/main" id="{95EC6692-E428-4237-91B8-FD7426072826}"/>
              </a:ext>
            </a:extLst>
          </p:cNvPr>
          <p:cNvGrpSpPr/>
          <p:nvPr/>
        </p:nvGrpSpPr>
        <p:grpSpPr>
          <a:xfrm>
            <a:off x="3547871" y="2297093"/>
            <a:ext cx="1009696" cy="1008802"/>
            <a:chOff x="3477756" y="3046927"/>
            <a:chExt cx="989988" cy="989111"/>
          </a:xfrm>
        </p:grpSpPr>
        <p:grpSp>
          <p:nvGrpSpPr>
            <p:cNvPr id="157" name="Group 156">
              <a:extLst>
                <a:ext uri="{FF2B5EF4-FFF2-40B4-BE49-F238E27FC236}">
                  <a16:creationId xmlns:a16="http://schemas.microsoft.com/office/drawing/2014/main" id="{7884DD41-1CBB-4DB8-947E-81184C568B91}"/>
                </a:ext>
              </a:extLst>
            </p:cNvPr>
            <p:cNvGrpSpPr/>
            <p:nvPr/>
          </p:nvGrpSpPr>
          <p:grpSpPr>
            <a:xfrm>
              <a:off x="3644784" y="3213078"/>
              <a:ext cx="822960" cy="822960"/>
              <a:chOff x="3223040" y="3069691"/>
              <a:chExt cx="822960" cy="822960"/>
            </a:xfrm>
          </p:grpSpPr>
          <p:sp>
            <p:nvSpPr>
              <p:cNvPr id="173" name="Rectangle: Rounded Corners 172">
                <a:extLst>
                  <a:ext uri="{FF2B5EF4-FFF2-40B4-BE49-F238E27FC236}">
                    <a16:creationId xmlns:a16="http://schemas.microsoft.com/office/drawing/2014/main" id="{424966F0-CEFA-438F-A79E-9C28EDA7E208}"/>
                  </a:ext>
                </a:extLst>
              </p:cNvPr>
              <p:cNvSpPr/>
              <p:nvPr/>
            </p:nvSpPr>
            <p:spPr bwMode="auto">
              <a:xfrm>
                <a:off x="3223040" y="3069691"/>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176" name="Graphic 175">
                <a:extLst>
                  <a:ext uri="{FF2B5EF4-FFF2-40B4-BE49-F238E27FC236}">
                    <a16:creationId xmlns:a16="http://schemas.microsoft.com/office/drawing/2014/main" id="{467B9F78-0609-4028-81DC-5211F73AD6D4}"/>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385943" y="3232593"/>
                <a:ext cx="497154" cy="497154"/>
              </a:xfrm>
              <a:prstGeom prst="rect">
                <a:avLst/>
              </a:prstGeom>
            </p:spPr>
          </p:pic>
        </p:grpSp>
        <p:grpSp>
          <p:nvGrpSpPr>
            <p:cNvPr id="163" name="Group 162">
              <a:extLst>
                <a:ext uri="{FF2B5EF4-FFF2-40B4-BE49-F238E27FC236}">
                  <a16:creationId xmlns:a16="http://schemas.microsoft.com/office/drawing/2014/main" id="{8894469F-55CD-4C60-BA10-53DAC4F52766}"/>
                </a:ext>
              </a:extLst>
            </p:cNvPr>
            <p:cNvGrpSpPr/>
            <p:nvPr/>
          </p:nvGrpSpPr>
          <p:grpSpPr>
            <a:xfrm>
              <a:off x="3477756" y="3046927"/>
              <a:ext cx="329609" cy="329609"/>
              <a:chOff x="5688419" y="3487479"/>
              <a:chExt cx="329609" cy="329609"/>
            </a:xfrm>
          </p:grpSpPr>
          <p:sp>
            <p:nvSpPr>
              <p:cNvPr id="164" name="Oval 163">
                <a:extLst>
                  <a:ext uri="{FF2B5EF4-FFF2-40B4-BE49-F238E27FC236}">
                    <a16:creationId xmlns:a16="http://schemas.microsoft.com/office/drawing/2014/main" id="{D7587F6C-BC7C-4FAA-8A3C-49E3F1F6FA11}"/>
                  </a:ext>
                </a:extLst>
              </p:cNvPr>
              <p:cNvSpPr/>
              <p:nvPr/>
            </p:nvSpPr>
            <p:spPr bwMode="auto">
              <a:xfrm>
                <a:off x="5688419" y="3487479"/>
                <a:ext cx="329609" cy="32960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72" name="Picture 171">
                <a:extLst>
                  <a:ext uri="{FF2B5EF4-FFF2-40B4-BE49-F238E27FC236}">
                    <a16:creationId xmlns:a16="http://schemas.microsoft.com/office/drawing/2014/main" id="{7F0B9F36-8D36-4B38-A244-38329D44471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721490" y="3520550"/>
                <a:ext cx="263467" cy="263467"/>
              </a:xfrm>
              <a:prstGeom prst="rect">
                <a:avLst/>
              </a:prstGeom>
            </p:spPr>
          </p:pic>
        </p:grpSp>
      </p:grpSp>
      <p:grpSp>
        <p:nvGrpSpPr>
          <p:cNvPr id="177" name="Group 176">
            <a:extLst>
              <a:ext uri="{FF2B5EF4-FFF2-40B4-BE49-F238E27FC236}">
                <a16:creationId xmlns:a16="http://schemas.microsoft.com/office/drawing/2014/main" id="{5E6DA963-01F0-40B2-B128-07340C80B036}"/>
              </a:ext>
            </a:extLst>
          </p:cNvPr>
          <p:cNvGrpSpPr/>
          <p:nvPr/>
        </p:nvGrpSpPr>
        <p:grpSpPr>
          <a:xfrm>
            <a:off x="5324522" y="1937665"/>
            <a:ext cx="839343" cy="1368228"/>
            <a:chOff x="5219729" y="2694515"/>
            <a:chExt cx="822960" cy="1341522"/>
          </a:xfrm>
        </p:grpSpPr>
        <p:sp>
          <p:nvSpPr>
            <p:cNvPr id="178" name="Title 1">
              <a:extLst>
                <a:ext uri="{FF2B5EF4-FFF2-40B4-BE49-F238E27FC236}">
                  <a16:creationId xmlns:a16="http://schemas.microsoft.com/office/drawing/2014/main" id="{019FB571-D7D9-43CB-8017-21B0CCEA8F2C}"/>
                </a:ext>
              </a:extLst>
            </p:cNvPr>
            <p:cNvSpPr txBox="1">
              <a:spLocks/>
            </p:cNvSpPr>
            <p:nvPr/>
          </p:nvSpPr>
          <p:spPr>
            <a:xfrm>
              <a:off x="5291044" y="2694515"/>
              <a:ext cx="680330" cy="470898"/>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932384">
                <a:defRPr/>
              </a:pPr>
              <a:r>
                <a:rPr lang="en-US" sz="1020">
                  <a:solidFill>
                    <a:srgbClr val="000000"/>
                  </a:solidFill>
                </a:rPr>
                <a:t>Azure Container Registry</a:t>
              </a:r>
            </a:p>
          </p:txBody>
        </p:sp>
        <p:grpSp>
          <p:nvGrpSpPr>
            <p:cNvPr id="179" name="Group 178">
              <a:extLst>
                <a:ext uri="{FF2B5EF4-FFF2-40B4-BE49-F238E27FC236}">
                  <a16:creationId xmlns:a16="http://schemas.microsoft.com/office/drawing/2014/main" id="{012A15F1-6FCE-4630-B46D-FD8874DE66FD}"/>
                </a:ext>
              </a:extLst>
            </p:cNvPr>
            <p:cNvGrpSpPr/>
            <p:nvPr/>
          </p:nvGrpSpPr>
          <p:grpSpPr>
            <a:xfrm>
              <a:off x="5219729" y="3213077"/>
              <a:ext cx="822960" cy="822960"/>
              <a:chOff x="5824800" y="1539202"/>
              <a:chExt cx="822960" cy="822960"/>
            </a:xfrm>
          </p:grpSpPr>
          <p:sp>
            <p:nvSpPr>
              <p:cNvPr id="180" name="Rectangle: Rounded Corners 179">
                <a:extLst>
                  <a:ext uri="{FF2B5EF4-FFF2-40B4-BE49-F238E27FC236}">
                    <a16:creationId xmlns:a16="http://schemas.microsoft.com/office/drawing/2014/main" id="{9F97ECFB-A205-4741-AACD-EB33DDC5FEBD}"/>
                  </a:ext>
                </a:extLst>
              </p:cNvPr>
              <p:cNvSpPr/>
              <p:nvPr/>
            </p:nvSpPr>
            <p:spPr bwMode="auto">
              <a:xfrm>
                <a:off x="5824800" y="1539202"/>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182" name="Graphic 181">
                <a:extLst>
                  <a:ext uri="{FF2B5EF4-FFF2-40B4-BE49-F238E27FC236}">
                    <a16:creationId xmlns:a16="http://schemas.microsoft.com/office/drawing/2014/main" id="{B3BD18F6-9193-4396-AE55-85BACC7083FF}"/>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930334" y="1644736"/>
                <a:ext cx="611893" cy="611893"/>
              </a:xfrm>
              <a:prstGeom prst="rect">
                <a:avLst/>
              </a:prstGeom>
            </p:spPr>
          </p:pic>
        </p:grpSp>
      </p:grpSp>
      <p:cxnSp>
        <p:nvCxnSpPr>
          <p:cNvPr id="188" name="Straight Arrow Connector 187">
            <a:extLst>
              <a:ext uri="{FF2B5EF4-FFF2-40B4-BE49-F238E27FC236}">
                <a16:creationId xmlns:a16="http://schemas.microsoft.com/office/drawing/2014/main" id="{224311F2-7BFA-4298-95B9-C477D15ED234}"/>
              </a:ext>
            </a:extLst>
          </p:cNvPr>
          <p:cNvCxnSpPr>
            <a:cxnSpLocks/>
            <a:stCxn id="186" idx="0"/>
            <a:endCxn id="180" idx="2"/>
          </p:cNvCxnSpPr>
          <p:nvPr/>
        </p:nvCxnSpPr>
        <p:spPr>
          <a:xfrm flipV="1">
            <a:off x="5744194" y="3305893"/>
            <a:ext cx="0" cy="1807799"/>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9" name="Title 1">
            <a:extLst>
              <a:ext uri="{FF2B5EF4-FFF2-40B4-BE49-F238E27FC236}">
                <a16:creationId xmlns:a16="http://schemas.microsoft.com/office/drawing/2014/main" id="{B2A5952E-BE0F-4B98-882E-C7EAD527C476}"/>
              </a:ext>
            </a:extLst>
          </p:cNvPr>
          <p:cNvSpPr txBox="1">
            <a:spLocks/>
          </p:cNvSpPr>
          <p:nvPr/>
        </p:nvSpPr>
        <p:spPr>
          <a:xfrm>
            <a:off x="4681085" y="3917857"/>
            <a:ext cx="1008583" cy="320182"/>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51304">
              <a:lnSpc>
                <a:spcPct val="100000"/>
              </a:lnSpc>
              <a:defRPr/>
            </a:pPr>
            <a:r>
              <a:rPr lang="en-US" sz="1020" spc="0">
                <a:solidFill>
                  <a:srgbClr val="000000"/>
                </a:solidFill>
                <a:latin typeface="Segoe UI Semibold" panose="020B0702040204020203" pitchFamily="34" charset="0"/>
                <a:cs typeface="Segoe UI Semibold" panose="020B0702040204020203" pitchFamily="34" charset="0"/>
              </a:rPr>
              <a:t>Azure Pipelines/</a:t>
            </a:r>
            <a:br>
              <a:rPr lang="en-US" sz="1020" spc="0">
                <a:solidFill>
                  <a:srgbClr val="000000"/>
                </a:solidFill>
                <a:latin typeface="Segoe UI Semibold" panose="020B0702040204020203" pitchFamily="34" charset="0"/>
                <a:cs typeface="Segoe UI Semibold" panose="020B0702040204020203" pitchFamily="34" charset="0"/>
              </a:rPr>
            </a:br>
            <a:r>
              <a:rPr lang="en-US" sz="1020" spc="0">
                <a:solidFill>
                  <a:srgbClr val="000000"/>
                </a:solidFill>
                <a:latin typeface="Segoe UI Semibold" panose="020B0702040204020203" pitchFamily="34" charset="0"/>
                <a:cs typeface="Segoe UI Semibold" panose="020B0702040204020203" pitchFamily="34" charset="0"/>
              </a:rPr>
              <a:t>DevOps Project</a:t>
            </a:r>
          </a:p>
        </p:txBody>
      </p:sp>
      <p:sp>
        <p:nvSpPr>
          <p:cNvPr id="190" name="Title 1">
            <a:extLst>
              <a:ext uri="{FF2B5EF4-FFF2-40B4-BE49-F238E27FC236}">
                <a16:creationId xmlns:a16="http://schemas.microsoft.com/office/drawing/2014/main" id="{2D5D017A-3FB4-4855-A36F-D8EF618318E8}"/>
              </a:ext>
            </a:extLst>
          </p:cNvPr>
          <p:cNvSpPr txBox="1">
            <a:spLocks/>
          </p:cNvSpPr>
          <p:nvPr/>
        </p:nvSpPr>
        <p:spPr>
          <a:xfrm>
            <a:off x="5387145" y="3526166"/>
            <a:ext cx="714099" cy="312022"/>
          </a:xfrm>
          <a:prstGeom prst="roundRect">
            <a:avLst>
              <a:gd name="adj" fmla="val 4732"/>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defPPr>
              <a:defRPr lang="en-US"/>
            </a:defPPr>
            <a:lvl1pPr algn="ctr" defTabSz="913927" fontAlgn="base">
              <a:lnSpc>
                <a:spcPct val="90000"/>
              </a:lnSpc>
              <a:spcBef>
                <a:spcPct val="0"/>
              </a:spcBef>
              <a:spcAft>
                <a:spcPct val="0"/>
              </a:spcAft>
              <a:defRPr sz="1175">
                <a:solidFill>
                  <a:srgbClr val="505050"/>
                </a:soli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114">
              <a:defRPr/>
            </a:pPr>
            <a:r>
              <a:rPr lang="en-US" sz="816">
                <a:ln w="3175">
                  <a:noFill/>
                </a:ln>
                <a:solidFill>
                  <a:srgbClr val="3C3C41"/>
                </a:solidFill>
                <a:cs typeface="Segoe UI Semibold" panose="020B0702040204020203" pitchFamily="34" charset="0"/>
              </a:rPr>
              <a:t>Auto-build</a:t>
            </a:r>
          </a:p>
        </p:txBody>
      </p:sp>
      <p:cxnSp>
        <p:nvCxnSpPr>
          <p:cNvPr id="191" name="Straight Arrow Connector 190">
            <a:extLst>
              <a:ext uri="{FF2B5EF4-FFF2-40B4-BE49-F238E27FC236}">
                <a16:creationId xmlns:a16="http://schemas.microsoft.com/office/drawing/2014/main" id="{143233DC-DFD7-4103-B09D-CDD092FD269D}"/>
              </a:ext>
            </a:extLst>
          </p:cNvPr>
          <p:cNvCxnSpPr>
            <a:cxnSpLocks/>
            <a:stCxn id="180" idx="3"/>
            <a:endCxn id="118" idx="1"/>
          </p:cNvCxnSpPr>
          <p:nvPr/>
        </p:nvCxnSpPr>
        <p:spPr>
          <a:xfrm>
            <a:off x="6163865" y="2886222"/>
            <a:ext cx="764027"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2" name="Group 191">
            <a:extLst>
              <a:ext uri="{FF2B5EF4-FFF2-40B4-BE49-F238E27FC236}">
                <a16:creationId xmlns:a16="http://schemas.microsoft.com/office/drawing/2014/main" id="{5654BB42-51D4-40C1-A339-141A712B1B4C}"/>
              </a:ext>
            </a:extLst>
          </p:cNvPr>
          <p:cNvGrpSpPr/>
          <p:nvPr/>
        </p:nvGrpSpPr>
        <p:grpSpPr>
          <a:xfrm>
            <a:off x="7080320" y="3079142"/>
            <a:ext cx="2306434" cy="815467"/>
            <a:chOff x="6941256" y="3813711"/>
            <a:chExt cx="2261415" cy="799550"/>
          </a:xfrm>
        </p:grpSpPr>
        <p:sp>
          <p:nvSpPr>
            <p:cNvPr id="193" name="Rectangle: Rounded Corners 192">
              <a:extLst>
                <a:ext uri="{FF2B5EF4-FFF2-40B4-BE49-F238E27FC236}">
                  <a16:creationId xmlns:a16="http://schemas.microsoft.com/office/drawing/2014/main" id="{C1328EB9-51B2-4776-8B65-340CCCCF4132}"/>
                </a:ext>
              </a:extLst>
            </p:cNvPr>
            <p:cNvSpPr/>
            <p:nvPr/>
          </p:nvSpPr>
          <p:spPr bwMode="auto">
            <a:xfrm>
              <a:off x="6941256" y="3991112"/>
              <a:ext cx="2261415" cy="62214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sp>
          <p:nvSpPr>
            <p:cNvPr id="194" name="Title 1">
              <a:extLst>
                <a:ext uri="{FF2B5EF4-FFF2-40B4-BE49-F238E27FC236}">
                  <a16:creationId xmlns:a16="http://schemas.microsoft.com/office/drawing/2014/main" id="{CF549E21-B66C-4D12-964D-49BAF84C586F}"/>
                </a:ext>
              </a:extLst>
            </p:cNvPr>
            <p:cNvSpPr txBox="1">
              <a:spLocks/>
            </p:cNvSpPr>
            <p:nvPr/>
          </p:nvSpPr>
          <p:spPr>
            <a:xfrm>
              <a:off x="6941256" y="3813711"/>
              <a:ext cx="601487" cy="1255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51304">
                <a:lnSpc>
                  <a:spcPct val="100000"/>
                </a:lnSpc>
                <a:defRPr/>
              </a:pPr>
              <a:r>
                <a:rPr lang="en-US" sz="816" spc="0">
                  <a:solidFill>
                    <a:srgbClr val="000000"/>
                  </a:solidFill>
                  <a:latin typeface="Segoe UI Semibold" panose="020B0702040204020203" pitchFamily="34" charset="0"/>
                  <a:cs typeface="Segoe UI Semibold" panose="020B0702040204020203" pitchFamily="34" charset="0"/>
                </a:rPr>
                <a:t>Business tier</a:t>
              </a:r>
            </a:p>
          </p:txBody>
        </p:sp>
      </p:grpSp>
      <p:grpSp>
        <p:nvGrpSpPr>
          <p:cNvPr id="195" name="Group 194">
            <a:extLst>
              <a:ext uri="{FF2B5EF4-FFF2-40B4-BE49-F238E27FC236}">
                <a16:creationId xmlns:a16="http://schemas.microsoft.com/office/drawing/2014/main" id="{EEAC4FAD-5586-4AB6-9115-5E66B58B69A1}"/>
              </a:ext>
            </a:extLst>
          </p:cNvPr>
          <p:cNvGrpSpPr/>
          <p:nvPr/>
        </p:nvGrpSpPr>
        <p:grpSpPr>
          <a:xfrm>
            <a:off x="7218878" y="3372703"/>
            <a:ext cx="409278" cy="409278"/>
            <a:chOff x="7077109" y="4101542"/>
            <a:chExt cx="401289" cy="401289"/>
          </a:xfrm>
        </p:grpSpPr>
        <p:sp>
          <p:nvSpPr>
            <p:cNvPr id="196" name="Rectangle: Rounded Corners 195">
              <a:extLst>
                <a:ext uri="{FF2B5EF4-FFF2-40B4-BE49-F238E27FC236}">
                  <a16:creationId xmlns:a16="http://schemas.microsoft.com/office/drawing/2014/main" id="{2B9696C4-B5D9-4DB9-BC4A-4120A2C960AF}"/>
                </a:ext>
              </a:extLst>
            </p:cNvPr>
            <p:cNvSpPr/>
            <p:nvPr/>
          </p:nvSpPr>
          <p:spPr bwMode="auto">
            <a:xfrm>
              <a:off x="7077109" y="4101542"/>
              <a:ext cx="401289" cy="4012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197" name="Graphic 196">
              <a:extLst>
                <a:ext uri="{FF2B5EF4-FFF2-40B4-BE49-F238E27FC236}">
                  <a16:creationId xmlns:a16="http://schemas.microsoft.com/office/drawing/2014/main" id="{A9210BF6-13B8-42C6-9608-FB304EB95A07}"/>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160189" y="4184622"/>
              <a:ext cx="235129" cy="235129"/>
            </a:xfrm>
            <a:prstGeom prst="rect">
              <a:avLst/>
            </a:prstGeom>
          </p:spPr>
        </p:pic>
      </p:grpSp>
      <p:grpSp>
        <p:nvGrpSpPr>
          <p:cNvPr id="198" name="Group 197">
            <a:extLst>
              <a:ext uri="{FF2B5EF4-FFF2-40B4-BE49-F238E27FC236}">
                <a16:creationId xmlns:a16="http://schemas.microsoft.com/office/drawing/2014/main" id="{1ABA7513-7051-4FD0-9396-B04D26679716}"/>
              </a:ext>
            </a:extLst>
          </p:cNvPr>
          <p:cNvGrpSpPr/>
          <p:nvPr/>
        </p:nvGrpSpPr>
        <p:grpSpPr>
          <a:xfrm>
            <a:off x="7758891" y="3372703"/>
            <a:ext cx="409278" cy="409278"/>
            <a:chOff x="7606582" y="4101542"/>
            <a:chExt cx="401289" cy="401289"/>
          </a:xfrm>
        </p:grpSpPr>
        <p:sp>
          <p:nvSpPr>
            <p:cNvPr id="199" name="Rectangle: Rounded Corners 198">
              <a:extLst>
                <a:ext uri="{FF2B5EF4-FFF2-40B4-BE49-F238E27FC236}">
                  <a16:creationId xmlns:a16="http://schemas.microsoft.com/office/drawing/2014/main" id="{500AB67E-B462-430E-81E3-93E8C780C60F}"/>
                </a:ext>
              </a:extLst>
            </p:cNvPr>
            <p:cNvSpPr/>
            <p:nvPr/>
          </p:nvSpPr>
          <p:spPr bwMode="auto">
            <a:xfrm>
              <a:off x="7606582" y="4101542"/>
              <a:ext cx="401289" cy="4012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200" name="Graphic 199">
              <a:extLst>
                <a:ext uri="{FF2B5EF4-FFF2-40B4-BE49-F238E27FC236}">
                  <a16:creationId xmlns:a16="http://schemas.microsoft.com/office/drawing/2014/main" id="{622D6136-E7A6-46E1-B0D3-1D15CD6581BA}"/>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689662" y="4184622"/>
              <a:ext cx="235129" cy="235129"/>
            </a:xfrm>
            <a:prstGeom prst="rect">
              <a:avLst/>
            </a:prstGeom>
          </p:spPr>
        </p:pic>
      </p:grpSp>
      <p:grpSp>
        <p:nvGrpSpPr>
          <p:cNvPr id="201" name="Group 200">
            <a:extLst>
              <a:ext uri="{FF2B5EF4-FFF2-40B4-BE49-F238E27FC236}">
                <a16:creationId xmlns:a16="http://schemas.microsoft.com/office/drawing/2014/main" id="{369C0280-D673-4424-8FC3-8738D794E765}"/>
              </a:ext>
            </a:extLst>
          </p:cNvPr>
          <p:cNvGrpSpPr/>
          <p:nvPr/>
        </p:nvGrpSpPr>
        <p:grpSpPr>
          <a:xfrm>
            <a:off x="8298905" y="3372703"/>
            <a:ext cx="409278" cy="409278"/>
            <a:chOff x="8136055" y="4101542"/>
            <a:chExt cx="401289" cy="401289"/>
          </a:xfrm>
        </p:grpSpPr>
        <p:sp>
          <p:nvSpPr>
            <p:cNvPr id="202" name="Rectangle: Rounded Corners 201">
              <a:extLst>
                <a:ext uri="{FF2B5EF4-FFF2-40B4-BE49-F238E27FC236}">
                  <a16:creationId xmlns:a16="http://schemas.microsoft.com/office/drawing/2014/main" id="{87080084-FF4E-47ED-AA4C-D500B8442D97}"/>
                </a:ext>
              </a:extLst>
            </p:cNvPr>
            <p:cNvSpPr/>
            <p:nvPr/>
          </p:nvSpPr>
          <p:spPr bwMode="auto">
            <a:xfrm>
              <a:off x="8136055" y="4101542"/>
              <a:ext cx="401289" cy="4012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211" name="Graphic 210">
              <a:extLst>
                <a:ext uri="{FF2B5EF4-FFF2-40B4-BE49-F238E27FC236}">
                  <a16:creationId xmlns:a16="http://schemas.microsoft.com/office/drawing/2014/main" id="{6CDC7435-CE39-4ECF-ABFC-6EDCCFB99CB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219135" y="4184622"/>
              <a:ext cx="235129" cy="235129"/>
            </a:xfrm>
            <a:prstGeom prst="rect">
              <a:avLst/>
            </a:prstGeom>
          </p:spPr>
        </p:pic>
      </p:grpSp>
      <p:grpSp>
        <p:nvGrpSpPr>
          <p:cNvPr id="212" name="Group 211">
            <a:extLst>
              <a:ext uri="{FF2B5EF4-FFF2-40B4-BE49-F238E27FC236}">
                <a16:creationId xmlns:a16="http://schemas.microsoft.com/office/drawing/2014/main" id="{92C83B91-9573-4E17-B937-C04B253D84CC}"/>
              </a:ext>
            </a:extLst>
          </p:cNvPr>
          <p:cNvGrpSpPr/>
          <p:nvPr/>
        </p:nvGrpSpPr>
        <p:grpSpPr>
          <a:xfrm>
            <a:off x="8838918" y="3372703"/>
            <a:ext cx="409278" cy="409278"/>
            <a:chOff x="8665528" y="4101542"/>
            <a:chExt cx="401289" cy="401289"/>
          </a:xfrm>
        </p:grpSpPr>
        <p:sp>
          <p:nvSpPr>
            <p:cNvPr id="216" name="Rectangle: Rounded Corners 215">
              <a:extLst>
                <a:ext uri="{FF2B5EF4-FFF2-40B4-BE49-F238E27FC236}">
                  <a16:creationId xmlns:a16="http://schemas.microsoft.com/office/drawing/2014/main" id="{7C862C67-60CC-467D-8C36-3B62171E085C}"/>
                </a:ext>
              </a:extLst>
            </p:cNvPr>
            <p:cNvSpPr/>
            <p:nvPr/>
          </p:nvSpPr>
          <p:spPr bwMode="auto">
            <a:xfrm>
              <a:off x="8665528" y="4101542"/>
              <a:ext cx="401289" cy="4012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217" name="Graphic 216">
              <a:extLst>
                <a:ext uri="{FF2B5EF4-FFF2-40B4-BE49-F238E27FC236}">
                  <a16:creationId xmlns:a16="http://schemas.microsoft.com/office/drawing/2014/main" id="{12FC4DF9-5ECF-46F6-BBF6-A58023AB0238}"/>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748608" y="4184622"/>
              <a:ext cx="235129" cy="235129"/>
            </a:xfrm>
            <a:prstGeom prst="rect">
              <a:avLst/>
            </a:prstGeom>
          </p:spPr>
        </p:pic>
      </p:grpSp>
      <p:cxnSp>
        <p:nvCxnSpPr>
          <p:cNvPr id="218" name="Straight Arrow Connector 217">
            <a:extLst>
              <a:ext uri="{FF2B5EF4-FFF2-40B4-BE49-F238E27FC236}">
                <a16:creationId xmlns:a16="http://schemas.microsoft.com/office/drawing/2014/main" id="{7FF67413-02F3-4398-9FFA-1DF4A17637BC}"/>
              </a:ext>
            </a:extLst>
          </p:cNvPr>
          <p:cNvCxnSpPr>
            <a:cxnSpLocks/>
          </p:cNvCxnSpPr>
          <p:nvPr/>
        </p:nvCxnSpPr>
        <p:spPr>
          <a:xfrm>
            <a:off x="8233537" y="2556597"/>
            <a:ext cx="0" cy="703478"/>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1" name="Straight Arrow Connector 220">
            <a:extLst>
              <a:ext uri="{FF2B5EF4-FFF2-40B4-BE49-F238E27FC236}">
                <a16:creationId xmlns:a16="http://schemas.microsoft.com/office/drawing/2014/main" id="{998E30A2-342E-4DF0-935D-B69C7DAD1E34}"/>
              </a:ext>
            </a:extLst>
          </p:cNvPr>
          <p:cNvCxnSpPr>
            <a:cxnSpLocks/>
          </p:cNvCxnSpPr>
          <p:nvPr/>
        </p:nvCxnSpPr>
        <p:spPr>
          <a:xfrm>
            <a:off x="8773550" y="2556597"/>
            <a:ext cx="0" cy="703478"/>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2" name="Group 221">
            <a:extLst>
              <a:ext uri="{FF2B5EF4-FFF2-40B4-BE49-F238E27FC236}">
                <a16:creationId xmlns:a16="http://schemas.microsoft.com/office/drawing/2014/main" id="{A458BB7E-AD25-4348-9A08-D965C7CF323E}"/>
              </a:ext>
            </a:extLst>
          </p:cNvPr>
          <p:cNvGrpSpPr/>
          <p:nvPr/>
        </p:nvGrpSpPr>
        <p:grpSpPr>
          <a:xfrm>
            <a:off x="7080320" y="1741129"/>
            <a:ext cx="2306434" cy="815467"/>
            <a:chOff x="6941256" y="2501815"/>
            <a:chExt cx="2261415" cy="799550"/>
          </a:xfrm>
        </p:grpSpPr>
        <p:sp>
          <p:nvSpPr>
            <p:cNvPr id="223" name="Rectangle: Rounded Corners 222">
              <a:extLst>
                <a:ext uri="{FF2B5EF4-FFF2-40B4-BE49-F238E27FC236}">
                  <a16:creationId xmlns:a16="http://schemas.microsoft.com/office/drawing/2014/main" id="{830EACE4-98B3-4B31-ABCC-429779A72F05}"/>
                </a:ext>
              </a:extLst>
            </p:cNvPr>
            <p:cNvSpPr/>
            <p:nvPr/>
          </p:nvSpPr>
          <p:spPr bwMode="auto">
            <a:xfrm>
              <a:off x="6941256" y="2679216"/>
              <a:ext cx="2261415" cy="62214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sp>
          <p:nvSpPr>
            <p:cNvPr id="226" name="Title 1">
              <a:extLst>
                <a:ext uri="{FF2B5EF4-FFF2-40B4-BE49-F238E27FC236}">
                  <a16:creationId xmlns:a16="http://schemas.microsoft.com/office/drawing/2014/main" id="{728987D7-845D-4BB9-8D13-EDBD9F00D380}"/>
                </a:ext>
              </a:extLst>
            </p:cNvPr>
            <p:cNvSpPr txBox="1">
              <a:spLocks/>
            </p:cNvSpPr>
            <p:nvPr/>
          </p:nvSpPr>
          <p:spPr>
            <a:xfrm>
              <a:off x="6941256" y="2501815"/>
              <a:ext cx="601487" cy="12554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51304">
                <a:lnSpc>
                  <a:spcPct val="100000"/>
                </a:lnSpc>
                <a:defRPr/>
              </a:pPr>
              <a:r>
                <a:rPr lang="en-US" sz="816" spc="0">
                  <a:solidFill>
                    <a:srgbClr val="000000"/>
                  </a:solidFill>
                  <a:latin typeface="Segoe UI Semibold" panose="020B0702040204020203" pitchFamily="34" charset="0"/>
                  <a:cs typeface="Segoe UI Semibold" panose="020B0702040204020203" pitchFamily="34" charset="0"/>
                </a:rPr>
                <a:t>Web tier</a:t>
              </a:r>
            </a:p>
          </p:txBody>
        </p:sp>
      </p:grpSp>
      <p:grpSp>
        <p:nvGrpSpPr>
          <p:cNvPr id="227" name="Group 226">
            <a:extLst>
              <a:ext uri="{FF2B5EF4-FFF2-40B4-BE49-F238E27FC236}">
                <a16:creationId xmlns:a16="http://schemas.microsoft.com/office/drawing/2014/main" id="{F851CBB4-C5B1-4707-B212-DD5530BF64CC}"/>
              </a:ext>
            </a:extLst>
          </p:cNvPr>
          <p:cNvGrpSpPr/>
          <p:nvPr/>
        </p:nvGrpSpPr>
        <p:grpSpPr>
          <a:xfrm>
            <a:off x="7218878" y="2034690"/>
            <a:ext cx="409278" cy="409278"/>
            <a:chOff x="7077109" y="2789646"/>
            <a:chExt cx="401289" cy="401289"/>
          </a:xfrm>
        </p:grpSpPr>
        <p:sp>
          <p:nvSpPr>
            <p:cNvPr id="228" name="Rectangle: Rounded Corners 227">
              <a:extLst>
                <a:ext uri="{FF2B5EF4-FFF2-40B4-BE49-F238E27FC236}">
                  <a16:creationId xmlns:a16="http://schemas.microsoft.com/office/drawing/2014/main" id="{3FCFFAB1-38F7-4056-B93E-467E4C8F1D02}"/>
                </a:ext>
              </a:extLst>
            </p:cNvPr>
            <p:cNvSpPr/>
            <p:nvPr/>
          </p:nvSpPr>
          <p:spPr bwMode="auto">
            <a:xfrm>
              <a:off x="7077109" y="2789646"/>
              <a:ext cx="401289" cy="4012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229" name="Graphic 228">
              <a:extLst>
                <a:ext uri="{FF2B5EF4-FFF2-40B4-BE49-F238E27FC236}">
                  <a16:creationId xmlns:a16="http://schemas.microsoft.com/office/drawing/2014/main" id="{6A32B68B-975E-4C5D-9C8F-7D02C7226DA7}"/>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155415" y="2867952"/>
              <a:ext cx="244676" cy="244676"/>
            </a:xfrm>
            <a:prstGeom prst="rect">
              <a:avLst/>
            </a:prstGeom>
          </p:spPr>
        </p:pic>
      </p:grpSp>
      <p:grpSp>
        <p:nvGrpSpPr>
          <p:cNvPr id="230" name="Group 229">
            <a:extLst>
              <a:ext uri="{FF2B5EF4-FFF2-40B4-BE49-F238E27FC236}">
                <a16:creationId xmlns:a16="http://schemas.microsoft.com/office/drawing/2014/main" id="{C1BB9269-B71F-4C17-B42B-9F34374BA323}"/>
              </a:ext>
            </a:extLst>
          </p:cNvPr>
          <p:cNvGrpSpPr/>
          <p:nvPr/>
        </p:nvGrpSpPr>
        <p:grpSpPr>
          <a:xfrm>
            <a:off x="7758891" y="2034690"/>
            <a:ext cx="409278" cy="409278"/>
            <a:chOff x="7606582" y="2789646"/>
            <a:chExt cx="401289" cy="401289"/>
          </a:xfrm>
        </p:grpSpPr>
        <p:sp>
          <p:nvSpPr>
            <p:cNvPr id="231" name="Rectangle: Rounded Corners 230">
              <a:extLst>
                <a:ext uri="{FF2B5EF4-FFF2-40B4-BE49-F238E27FC236}">
                  <a16:creationId xmlns:a16="http://schemas.microsoft.com/office/drawing/2014/main" id="{E28F7EF0-7796-45AE-8425-FA48DB1B1A3B}"/>
                </a:ext>
              </a:extLst>
            </p:cNvPr>
            <p:cNvSpPr/>
            <p:nvPr/>
          </p:nvSpPr>
          <p:spPr bwMode="auto">
            <a:xfrm>
              <a:off x="7606582" y="2789646"/>
              <a:ext cx="401289" cy="4012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232" name="Graphic 231">
              <a:extLst>
                <a:ext uri="{FF2B5EF4-FFF2-40B4-BE49-F238E27FC236}">
                  <a16:creationId xmlns:a16="http://schemas.microsoft.com/office/drawing/2014/main" id="{1D6E7D16-0919-4EF0-9343-E3768DEBF438}"/>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84888" y="2867952"/>
              <a:ext cx="244676" cy="244676"/>
            </a:xfrm>
            <a:prstGeom prst="rect">
              <a:avLst/>
            </a:prstGeom>
          </p:spPr>
        </p:pic>
      </p:grpSp>
      <p:grpSp>
        <p:nvGrpSpPr>
          <p:cNvPr id="233" name="Group 232">
            <a:extLst>
              <a:ext uri="{FF2B5EF4-FFF2-40B4-BE49-F238E27FC236}">
                <a16:creationId xmlns:a16="http://schemas.microsoft.com/office/drawing/2014/main" id="{2645A38A-68D9-4629-8B09-3DCB11893AF8}"/>
              </a:ext>
            </a:extLst>
          </p:cNvPr>
          <p:cNvGrpSpPr/>
          <p:nvPr/>
        </p:nvGrpSpPr>
        <p:grpSpPr>
          <a:xfrm>
            <a:off x="8298905" y="2034690"/>
            <a:ext cx="409278" cy="409278"/>
            <a:chOff x="8136055" y="2789646"/>
            <a:chExt cx="401289" cy="401289"/>
          </a:xfrm>
        </p:grpSpPr>
        <p:sp>
          <p:nvSpPr>
            <p:cNvPr id="234" name="Rectangle: Rounded Corners 233">
              <a:extLst>
                <a:ext uri="{FF2B5EF4-FFF2-40B4-BE49-F238E27FC236}">
                  <a16:creationId xmlns:a16="http://schemas.microsoft.com/office/drawing/2014/main" id="{2B9B6722-F6D0-421C-B0A8-1554442FF432}"/>
                </a:ext>
              </a:extLst>
            </p:cNvPr>
            <p:cNvSpPr/>
            <p:nvPr/>
          </p:nvSpPr>
          <p:spPr bwMode="auto">
            <a:xfrm>
              <a:off x="8136055" y="2789646"/>
              <a:ext cx="401289" cy="4012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235" name="Graphic 234">
              <a:extLst>
                <a:ext uri="{FF2B5EF4-FFF2-40B4-BE49-F238E27FC236}">
                  <a16:creationId xmlns:a16="http://schemas.microsoft.com/office/drawing/2014/main" id="{80439153-58F1-48C7-9022-F2DE64852AB0}"/>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214361" y="2867952"/>
              <a:ext cx="244676" cy="244676"/>
            </a:xfrm>
            <a:prstGeom prst="rect">
              <a:avLst/>
            </a:prstGeom>
          </p:spPr>
        </p:pic>
      </p:grpSp>
      <p:cxnSp>
        <p:nvCxnSpPr>
          <p:cNvPr id="236" name="Straight Arrow Connector 235">
            <a:extLst>
              <a:ext uri="{FF2B5EF4-FFF2-40B4-BE49-F238E27FC236}">
                <a16:creationId xmlns:a16="http://schemas.microsoft.com/office/drawing/2014/main" id="{CFEAD16F-1628-4250-895B-7AC959FB3700}"/>
              </a:ext>
            </a:extLst>
          </p:cNvPr>
          <p:cNvCxnSpPr>
            <a:cxnSpLocks/>
          </p:cNvCxnSpPr>
          <p:nvPr/>
        </p:nvCxnSpPr>
        <p:spPr>
          <a:xfrm>
            <a:off x="8233537" y="4191867"/>
            <a:ext cx="1" cy="48640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B034949D-1ABA-4066-90D6-94BAE32DC2DD}"/>
              </a:ext>
            </a:extLst>
          </p:cNvPr>
          <p:cNvCxnSpPr>
            <a:cxnSpLocks/>
          </p:cNvCxnSpPr>
          <p:nvPr/>
        </p:nvCxnSpPr>
        <p:spPr>
          <a:xfrm>
            <a:off x="8773550" y="4191867"/>
            <a:ext cx="1" cy="486406"/>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8" name="Group 237">
            <a:extLst>
              <a:ext uri="{FF2B5EF4-FFF2-40B4-BE49-F238E27FC236}">
                <a16:creationId xmlns:a16="http://schemas.microsoft.com/office/drawing/2014/main" id="{4DC84DA9-AC48-4CAD-A241-64EEABC29E78}"/>
              </a:ext>
            </a:extLst>
          </p:cNvPr>
          <p:cNvGrpSpPr/>
          <p:nvPr/>
        </p:nvGrpSpPr>
        <p:grpSpPr>
          <a:xfrm>
            <a:off x="7119499" y="4858481"/>
            <a:ext cx="544211" cy="544211"/>
            <a:chOff x="9572166" y="4425234"/>
            <a:chExt cx="533589" cy="533589"/>
          </a:xfrm>
        </p:grpSpPr>
        <p:sp>
          <p:nvSpPr>
            <p:cNvPr id="239" name="Rectangle: Rounded Corners 238">
              <a:extLst>
                <a:ext uri="{FF2B5EF4-FFF2-40B4-BE49-F238E27FC236}">
                  <a16:creationId xmlns:a16="http://schemas.microsoft.com/office/drawing/2014/main" id="{5D87A180-B262-43A3-A188-19651971B32A}"/>
                </a:ext>
              </a:extLst>
            </p:cNvPr>
            <p:cNvSpPr/>
            <p:nvPr/>
          </p:nvSpPr>
          <p:spPr bwMode="auto">
            <a:xfrm>
              <a:off x="9572166" y="4425234"/>
              <a:ext cx="533589" cy="5335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sp>
          <p:nvSpPr>
            <p:cNvPr id="240" name="Database_EFC7" title="Icon of a cylinder">
              <a:extLst>
                <a:ext uri="{FF2B5EF4-FFF2-40B4-BE49-F238E27FC236}">
                  <a16:creationId xmlns:a16="http://schemas.microsoft.com/office/drawing/2014/main" id="{A1AB72A2-9006-4C35-9377-C72DF5C89E35}"/>
                </a:ext>
              </a:extLst>
            </p:cNvPr>
            <p:cNvSpPr>
              <a:spLocks noChangeAspect="1" noEditPoints="1"/>
            </p:cNvSpPr>
            <p:nvPr/>
          </p:nvSpPr>
          <p:spPr bwMode="auto">
            <a:xfrm>
              <a:off x="9708818" y="4522864"/>
              <a:ext cx="260285" cy="33832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241" name="Group 240">
            <a:extLst>
              <a:ext uri="{FF2B5EF4-FFF2-40B4-BE49-F238E27FC236}">
                <a16:creationId xmlns:a16="http://schemas.microsoft.com/office/drawing/2014/main" id="{28D73B6D-06C6-427B-B84E-F5CACF94A9EA}"/>
              </a:ext>
            </a:extLst>
          </p:cNvPr>
          <p:cNvGrpSpPr/>
          <p:nvPr/>
        </p:nvGrpSpPr>
        <p:grpSpPr>
          <a:xfrm>
            <a:off x="7961433" y="4858481"/>
            <a:ext cx="544211" cy="544211"/>
            <a:chOff x="9572166" y="4425234"/>
            <a:chExt cx="533589" cy="533589"/>
          </a:xfrm>
        </p:grpSpPr>
        <p:sp>
          <p:nvSpPr>
            <p:cNvPr id="242" name="Rectangle: Rounded Corners 241">
              <a:extLst>
                <a:ext uri="{FF2B5EF4-FFF2-40B4-BE49-F238E27FC236}">
                  <a16:creationId xmlns:a16="http://schemas.microsoft.com/office/drawing/2014/main" id="{C016DB6E-E5C8-479A-8CD2-998DAAD4DF49}"/>
                </a:ext>
              </a:extLst>
            </p:cNvPr>
            <p:cNvSpPr/>
            <p:nvPr/>
          </p:nvSpPr>
          <p:spPr bwMode="auto">
            <a:xfrm>
              <a:off x="9572166" y="4425234"/>
              <a:ext cx="533589" cy="5335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sp>
          <p:nvSpPr>
            <p:cNvPr id="243" name="Database_EFC7" title="Icon of a cylinder">
              <a:extLst>
                <a:ext uri="{FF2B5EF4-FFF2-40B4-BE49-F238E27FC236}">
                  <a16:creationId xmlns:a16="http://schemas.microsoft.com/office/drawing/2014/main" id="{79331E5C-0C98-4BD8-8550-590166004226}"/>
                </a:ext>
              </a:extLst>
            </p:cNvPr>
            <p:cNvSpPr>
              <a:spLocks noChangeAspect="1" noEditPoints="1"/>
            </p:cNvSpPr>
            <p:nvPr/>
          </p:nvSpPr>
          <p:spPr bwMode="auto">
            <a:xfrm>
              <a:off x="9708818" y="4522864"/>
              <a:ext cx="260285" cy="33832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cxnSp>
        <p:nvCxnSpPr>
          <p:cNvPr id="244" name="Straight Arrow Connector 243">
            <a:extLst>
              <a:ext uri="{FF2B5EF4-FFF2-40B4-BE49-F238E27FC236}">
                <a16:creationId xmlns:a16="http://schemas.microsoft.com/office/drawing/2014/main" id="{64BE8DB1-F38F-45BB-B669-520D3AEEE0BE}"/>
              </a:ext>
            </a:extLst>
          </p:cNvPr>
          <p:cNvCxnSpPr>
            <a:cxnSpLocks/>
            <a:stCxn id="249" idx="1"/>
            <a:endCxn id="118" idx="3"/>
          </p:cNvCxnSpPr>
          <p:nvPr/>
        </p:nvCxnSpPr>
        <p:spPr>
          <a:xfrm flipH="1">
            <a:off x="9539182" y="2886222"/>
            <a:ext cx="766771"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46" name="Group 245">
            <a:extLst>
              <a:ext uri="{FF2B5EF4-FFF2-40B4-BE49-F238E27FC236}">
                <a16:creationId xmlns:a16="http://schemas.microsoft.com/office/drawing/2014/main" id="{E9A7974A-2276-406E-A5FD-18E7667F88A2}"/>
              </a:ext>
            </a:extLst>
          </p:cNvPr>
          <p:cNvGrpSpPr/>
          <p:nvPr/>
        </p:nvGrpSpPr>
        <p:grpSpPr>
          <a:xfrm>
            <a:off x="10305952" y="2097756"/>
            <a:ext cx="839343" cy="1208137"/>
            <a:chOff x="10103928" y="2851481"/>
            <a:chExt cx="822960" cy="1184556"/>
          </a:xfrm>
        </p:grpSpPr>
        <p:grpSp>
          <p:nvGrpSpPr>
            <p:cNvPr id="247" name="Group 246">
              <a:extLst>
                <a:ext uri="{FF2B5EF4-FFF2-40B4-BE49-F238E27FC236}">
                  <a16:creationId xmlns:a16="http://schemas.microsoft.com/office/drawing/2014/main" id="{B3006208-DFE0-4521-9F91-BAFA79D97BC2}"/>
                </a:ext>
              </a:extLst>
            </p:cNvPr>
            <p:cNvGrpSpPr/>
            <p:nvPr/>
          </p:nvGrpSpPr>
          <p:grpSpPr>
            <a:xfrm>
              <a:off x="10103928" y="3213077"/>
              <a:ext cx="822960" cy="822960"/>
              <a:chOff x="9992901" y="2243255"/>
              <a:chExt cx="822960" cy="822960"/>
            </a:xfrm>
          </p:grpSpPr>
          <p:sp>
            <p:nvSpPr>
              <p:cNvPr id="249" name="Rectangle: Rounded Corners 248">
                <a:extLst>
                  <a:ext uri="{FF2B5EF4-FFF2-40B4-BE49-F238E27FC236}">
                    <a16:creationId xmlns:a16="http://schemas.microsoft.com/office/drawing/2014/main" id="{A031C9BE-EC8B-4824-A1AF-E19528D1ACCC}"/>
                  </a:ext>
                </a:extLst>
              </p:cNvPr>
              <p:cNvSpPr/>
              <p:nvPr/>
            </p:nvSpPr>
            <p:spPr bwMode="auto">
              <a:xfrm>
                <a:off x="9992901" y="2243255"/>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250" name="Graphic 249">
                <a:extLst>
                  <a:ext uri="{FF2B5EF4-FFF2-40B4-BE49-F238E27FC236}">
                    <a16:creationId xmlns:a16="http://schemas.microsoft.com/office/drawing/2014/main" id="{2FB71895-15DC-4D46-8E09-2597C934D5E0}"/>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166256" y="2416610"/>
                <a:ext cx="476250" cy="476250"/>
              </a:xfrm>
              <a:prstGeom prst="rect">
                <a:avLst/>
              </a:prstGeom>
            </p:spPr>
          </p:pic>
        </p:grpSp>
        <p:sp>
          <p:nvSpPr>
            <p:cNvPr id="248" name="Title 1">
              <a:extLst>
                <a:ext uri="{FF2B5EF4-FFF2-40B4-BE49-F238E27FC236}">
                  <a16:creationId xmlns:a16="http://schemas.microsoft.com/office/drawing/2014/main" id="{3B9F62ED-E491-4EC1-B5E1-019DBC5CA94E}"/>
                </a:ext>
              </a:extLst>
            </p:cNvPr>
            <p:cNvSpPr txBox="1">
              <a:spLocks/>
            </p:cNvSpPr>
            <p:nvPr/>
          </p:nvSpPr>
          <p:spPr>
            <a:xfrm>
              <a:off x="10175243" y="2851481"/>
              <a:ext cx="680330" cy="313932"/>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932384">
                <a:defRPr/>
              </a:pPr>
              <a:r>
                <a:rPr lang="en-US" sz="1020">
                  <a:solidFill>
                    <a:srgbClr val="000000"/>
                  </a:solidFill>
                </a:rPr>
                <a:t>Azure Monitor</a:t>
              </a:r>
            </a:p>
          </p:txBody>
        </p:sp>
      </p:grpSp>
      <p:sp>
        <p:nvSpPr>
          <p:cNvPr id="254" name="Oval 253">
            <a:extLst>
              <a:ext uri="{FF2B5EF4-FFF2-40B4-BE49-F238E27FC236}">
                <a16:creationId xmlns:a16="http://schemas.microsoft.com/office/drawing/2014/main" id="{56C45B85-D177-4DC5-8F24-65DBD18595C9}"/>
              </a:ext>
            </a:extLst>
          </p:cNvPr>
          <p:cNvSpPr/>
          <p:nvPr/>
        </p:nvSpPr>
        <p:spPr bwMode="auto">
          <a:xfrm>
            <a:off x="4100591" y="5508290"/>
            <a:ext cx="74608" cy="74608"/>
          </a:xfrm>
          <a:prstGeom prst="ellips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5" name="Straight Arrow Connector 254">
            <a:extLst>
              <a:ext uri="{FF2B5EF4-FFF2-40B4-BE49-F238E27FC236}">
                <a16:creationId xmlns:a16="http://schemas.microsoft.com/office/drawing/2014/main" id="{EFFE71FC-A05F-41F6-96DC-B60A44B35502}"/>
              </a:ext>
            </a:extLst>
          </p:cNvPr>
          <p:cNvCxnSpPr>
            <a:cxnSpLocks/>
            <a:stCxn id="173" idx="2"/>
          </p:cNvCxnSpPr>
          <p:nvPr/>
        </p:nvCxnSpPr>
        <p:spPr>
          <a:xfrm>
            <a:off x="4137896" y="3305895"/>
            <a:ext cx="0" cy="2190164"/>
          </a:xfrm>
          <a:prstGeom prst="straightConnector1">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6" name="Straight Arrow Connector 255">
            <a:extLst>
              <a:ext uri="{FF2B5EF4-FFF2-40B4-BE49-F238E27FC236}">
                <a16:creationId xmlns:a16="http://schemas.microsoft.com/office/drawing/2014/main" id="{AA61949B-F992-40BC-8A81-8D68F78D6BEC}"/>
              </a:ext>
            </a:extLst>
          </p:cNvPr>
          <p:cNvCxnSpPr>
            <a:cxnSpLocks/>
            <a:endCxn id="186" idx="1"/>
          </p:cNvCxnSpPr>
          <p:nvPr/>
        </p:nvCxnSpPr>
        <p:spPr>
          <a:xfrm>
            <a:off x="4137896" y="5533364"/>
            <a:ext cx="1186626" cy="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524C0C31-D855-4354-B411-49198680248D}"/>
              </a:ext>
            </a:extLst>
          </p:cNvPr>
          <p:cNvGrpSpPr/>
          <p:nvPr/>
        </p:nvGrpSpPr>
        <p:grpSpPr>
          <a:xfrm>
            <a:off x="8792552" y="4858480"/>
            <a:ext cx="544211" cy="544211"/>
            <a:chOff x="9572166" y="4425234"/>
            <a:chExt cx="533589" cy="533589"/>
          </a:xfrm>
        </p:grpSpPr>
        <p:sp>
          <p:nvSpPr>
            <p:cNvPr id="160" name="Rectangle: Rounded Corners 159">
              <a:extLst>
                <a:ext uri="{FF2B5EF4-FFF2-40B4-BE49-F238E27FC236}">
                  <a16:creationId xmlns:a16="http://schemas.microsoft.com/office/drawing/2014/main" id="{7384EDC5-A1C0-4443-ADF8-B1F506056E50}"/>
                </a:ext>
              </a:extLst>
            </p:cNvPr>
            <p:cNvSpPr/>
            <p:nvPr/>
          </p:nvSpPr>
          <p:spPr bwMode="auto">
            <a:xfrm>
              <a:off x="9572166" y="4425234"/>
              <a:ext cx="533589" cy="5335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sp>
          <p:nvSpPr>
            <p:cNvPr id="161" name="Database_EFC7" title="Icon of a cylinder">
              <a:extLst>
                <a:ext uri="{FF2B5EF4-FFF2-40B4-BE49-F238E27FC236}">
                  <a16:creationId xmlns:a16="http://schemas.microsoft.com/office/drawing/2014/main" id="{1EC355AE-C6EB-4853-AC9D-F67280CBBB6E}"/>
                </a:ext>
              </a:extLst>
            </p:cNvPr>
            <p:cNvSpPr>
              <a:spLocks noChangeAspect="1" noEditPoints="1"/>
            </p:cNvSpPr>
            <p:nvPr/>
          </p:nvSpPr>
          <p:spPr bwMode="auto">
            <a:xfrm>
              <a:off x="9708818" y="4522864"/>
              <a:ext cx="260285" cy="33832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nvGrpSpPr>
          <p:cNvPr id="162" name="Group 161">
            <a:extLst>
              <a:ext uri="{FF2B5EF4-FFF2-40B4-BE49-F238E27FC236}">
                <a16:creationId xmlns:a16="http://schemas.microsoft.com/office/drawing/2014/main" id="{C5A8029B-F518-422F-A864-F900BD8FA43D}"/>
              </a:ext>
            </a:extLst>
          </p:cNvPr>
          <p:cNvGrpSpPr/>
          <p:nvPr/>
        </p:nvGrpSpPr>
        <p:grpSpPr>
          <a:xfrm>
            <a:off x="8852330" y="2034689"/>
            <a:ext cx="409278" cy="409278"/>
            <a:chOff x="8136055" y="2789646"/>
            <a:chExt cx="401289" cy="401289"/>
          </a:xfrm>
        </p:grpSpPr>
        <p:sp>
          <p:nvSpPr>
            <p:cNvPr id="165" name="Rectangle: Rounded Corners 164">
              <a:extLst>
                <a:ext uri="{FF2B5EF4-FFF2-40B4-BE49-F238E27FC236}">
                  <a16:creationId xmlns:a16="http://schemas.microsoft.com/office/drawing/2014/main" id="{9B503D1A-D0C3-4E6E-BBF1-89D53EEB9EC8}"/>
                </a:ext>
              </a:extLst>
            </p:cNvPr>
            <p:cNvSpPr/>
            <p:nvPr/>
          </p:nvSpPr>
          <p:spPr bwMode="auto">
            <a:xfrm>
              <a:off x="8136055" y="2789646"/>
              <a:ext cx="401289" cy="401289"/>
            </a:xfrm>
            <a:prstGeom prst="roundRect">
              <a:avLst>
                <a:gd name="adj" fmla="val 3125"/>
              </a:avLst>
            </a:prstGeom>
            <a:no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pic>
          <p:nvPicPr>
            <p:cNvPr id="166" name="Graphic 165">
              <a:extLst>
                <a:ext uri="{FF2B5EF4-FFF2-40B4-BE49-F238E27FC236}">
                  <a16:creationId xmlns:a16="http://schemas.microsoft.com/office/drawing/2014/main" id="{351E4D5C-1B5F-41A3-B050-AE36FBFE0824}"/>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214361" y="2867952"/>
              <a:ext cx="244676" cy="244676"/>
            </a:xfrm>
            <a:prstGeom prst="rect">
              <a:avLst/>
            </a:prstGeom>
          </p:spPr>
        </p:pic>
      </p:grpSp>
      <p:grpSp>
        <p:nvGrpSpPr>
          <p:cNvPr id="7" name="Group 6">
            <a:extLst>
              <a:ext uri="{FF2B5EF4-FFF2-40B4-BE49-F238E27FC236}">
                <a16:creationId xmlns:a16="http://schemas.microsoft.com/office/drawing/2014/main" id="{65BEEE0A-577E-4818-BF3A-F31BD6E76A41}"/>
              </a:ext>
            </a:extLst>
          </p:cNvPr>
          <p:cNvGrpSpPr/>
          <p:nvPr/>
        </p:nvGrpSpPr>
        <p:grpSpPr>
          <a:xfrm>
            <a:off x="5324522" y="5113692"/>
            <a:ext cx="839343" cy="1049996"/>
            <a:chOff x="5324522" y="5113692"/>
            <a:chExt cx="839343" cy="1049996"/>
          </a:xfrm>
        </p:grpSpPr>
        <p:sp>
          <p:nvSpPr>
            <p:cNvPr id="186" name="Rectangle: Rounded Corners 185">
              <a:extLst>
                <a:ext uri="{FF2B5EF4-FFF2-40B4-BE49-F238E27FC236}">
                  <a16:creationId xmlns:a16="http://schemas.microsoft.com/office/drawing/2014/main" id="{FF4DA065-6276-4C85-96BF-3E2A5BE5DC17}"/>
                </a:ext>
              </a:extLst>
            </p:cNvPr>
            <p:cNvSpPr/>
            <p:nvPr/>
          </p:nvSpPr>
          <p:spPr bwMode="auto">
            <a:xfrm>
              <a:off x="5324522" y="5113692"/>
              <a:ext cx="839343" cy="839343"/>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a:solidFill>
                  <a:srgbClr val="505050"/>
                </a:solidFill>
                <a:latin typeface="Segoe UI"/>
                <a:cs typeface="Segoe UI" pitchFamily="34" charset="0"/>
              </a:endParaRPr>
            </a:p>
          </p:txBody>
        </p:sp>
        <p:sp>
          <p:nvSpPr>
            <p:cNvPr id="185" name="Title 1">
              <a:extLst>
                <a:ext uri="{FF2B5EF4-FFF2-40B4-BE49-F238E27FC236}">
                  <a16:creationId xmlns:a16="http://schemas.microsoft.com/office/drawing/2014/main" id="{D125F2D9-F9E5-46BB-884D-E1872394F082}"/>
                </a:ext>
              </a:extLst>
            </p:cNvPr>
            <p:cNvSpPr txBox="1">
              <a:spLocks/>
            </p:cNvSpPr>
            <p:nvPr/>
          </p:nvSpPr>
          <p:spPr>
            <a:xfrm>
              <a:off x="5397257" y="6003597"/>
              <a:ext cx="693874" cy="160091"/>
            </a:xfrm>
            <a:prstGeom prst="rect">
              <a:avLst/>
            </a:prstGeom>
          </p:spPr>
          <p:txBody>
            <a:bodyPr vert="horz" wrap="square" lIns="0" tIns="0" rIns="0" bIns="0" rtlCol="0" anchor="b">
              <a:sp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defTabSz="932384">
                <a:defRPr/>
              </a:pPr>
              <a:r>
                <a:rPr lang="en-US" sz="1020">
                  <a:solidFill>
                    <a:srgbClr val="000000"/>
                  </a:solidFill>
                </a:rPr>
                <a:t>CI/CD</a:t>
              </a:r>
            </a:p>
          </p:txBody>
        </p:sp>
        <p:sp>
          <p:nvSpPr>
            <p:cNvPr id="158" name="Freeform: Shape 157">
              <a:extLst>
                <a:ext uri="{FF2B5EF4-FFF2-40B4-BE49-F238E27FC236}">
                  <a16:creationId xmlns:a16="http://schemas.microsoft.com/office/drawing/2014/main" id="{78BB4AD0-2000-4C7B-8B78-5E623119B26F}"/>
                </a:ext>
              </a:extLst>
            </p:cNvPr>
            <p:cNvSpPr>
              <a:spLocks noChangeAspect="1"/>
            </p:cNvSpPr>
            <p:nvPr/>
          </p:nvSpPr>
          <p:spPr bwMode="auto">
            <a:xfrm>
              <a:off x="5518520" y="5282026"/>
              <a:ext cx="502920" cy="502758"/>
            </a:xfrm>
            <a:custGeom>
              <a:avLst/>
              <a:gdLst>
                <a:gd name="connsiteX0" fmla="*/ 0 w 3242535"/>
                <a:gd name="connsiteY0" fmla="*/ 2435711 h 3241496"/>
                <a:gd name="connsiteX1" fmla="*/ 233253 w 3242535"/>
                <a:gd name="connsiteY1" fmla="*/ 2435711 h 3241496"/>
                <a:gd name="connsiteX2" fmla="*/ 233253 w 3242535"/>
                <a:gd name="connsiteY2" fmla="*/ 3008243 h 3241496"/>
                <a:gd name="connsiteX3" fmla="*/ 806963 w 3242535"/>
                <a:gd name="connsiteY3" fmla="*/ 3008243 h 3241496"/>
                <a:gd name="connsiteX4" fmla="*/ 806963 w 3242535"/>
                <a:gd name="connsiteY4" fmla="*/ 3241496 h 3241496"/>
                <a:gd name="connsiteX5" fmla="*/ 0 w 3242535"/>
                <a:gd name="connsiteY5" fmla="*/ 3241496 h 3241496"/>
                <a:gd name="connsiteX6" fmla="*/ 2446806 w 3242535"/>
                <a:gd name="connsiteY6" fmla="*/ 2102324 h 3241496"/>
                <a:gd name="connsiteX7" fmla="*/ 2446806 w 3242535"/>
                <a:gd name="connsiteY7" fmla="*/ 3133136 h 3241496"/>
                <a:gd name="connsiteX8" fmla="*/ 2338390 w 3242535"/>
                <a:gd name="connsiteY8" fmla="*/ 3241496 h 3241496"/>
                <a:gd name="connsiteX9" fmla="*/ 1546116 w 3242535"/>
                <a:gd name="connsiteY9" fmla="*/ 3241496 h 3241496"/>
                <a:gd name="connsiteX10" fmla="*/ 1537777 w 3242535"/>
                <a:gd name="connsiteY10" fmla="*/ 3238718 h 3241496"/>
                <a:gd name="connsiteX11" fmla="*/ 1081872 w 3242535"/>
                <a:gd name="connsiteY11" fmla="*/ 2788606 h 3241496"/>
                <a:gd name="connsiteX12" fmla="*/ 1081872 w 3242535"/>
                <a:gd name="connsiteY12" fmla="*/ 2771935 h 3241496"/>
                <a:gd name="connsiteX13" fmla="*/ 1218087 w 3242535"/>
                <a:gd name="connsiteY13" fmla="*/ 2638569 h 3241496"/>
                <a:gd name="connsiteX14" fmla="*/ 1329284 w 3242535"/>
                <a:gd name="connsiteY14" fmla="*/ 2752486 h 3241496"/>
                <a:gd name="connsiteX15" fmla="*/ 1393221 w 3242535"/>
                <a:gd name="connsiteY15" fmla="*/ 2780270 h 3241496"/>
                <a:gd name="connsiteX16" fmla="*/ 1440480 w 3242535"/>
                <a:gd name="connsiteY16" fmla="*/ 2766378 h 3241496"/>
                <a:gd name="connsiteX17" fmla="*/ 1709110 w 3242535"/>
                <a:gd name="connsiteY17" fmla="*/ 1334446 h 3241496"/>
                <a:gd name="connsiteX18" fmla="*/ 1718851 w 3242535"/>
                <a:gd name="connsiteY18" fmla="*/ 1338611 h 3241496"/>
                <a:gd name="connsiteX19" fmla="*/ 1896981 w 3242535"/>
                <a:gd name="connsiteY19" fmla="*/ 1519093 h 3241496"/>
                <a:gd name="connsiteX20" fmla="*/ 1896981 w 3242535"/>
                <a:gd name="connsiteY20" fmla="*/ 1538529 h 3241496"/>
                <a:gd name="connsiteX21" fmla="*/ 867170 w 3242535"/>
                <a:gd name="connsiteY21" fmla="*/ 2540895 h 3241496"/>
                <a:gd name="connsiteX22" fmla="*/ 847688 w 3242535"/>
                <a:gd name="connsiteY22" fmla="*/ 2540895 h 3241496"/>
                <a:gd name="connsiteX23" fmla="*/ 741923 w 3242535"/>
                <a:gd name="connsiteY23" fmla="*/ 2429829 h 3241496"/>
                <a:gd name="connsiteX24" fmla="*/ 669559 w 3242535"/>
                <a:gd name="connsiteY24" fmla="*/ 2357637 h 3241496"/>
                <a:gd name="connsiteX25" fmla="*/ 669559 w 3242535"/>
                <a:gd name="connsiteY25" fmla="*/ 2338201 h 3241496"/>
                <a:gd name="connsiteX26" fmla="*/ 1699368 w 3242535"/>
                <a:gd name="connsiteY26" fmla="*/ 1338611 h 3241496"/>
                <a:gd name="connsiteX27" fmla="*/ 1709110 w 3242535"/>
                <a:gd name="connsiteY27" fmla="*/ 1334446 h 3241496"/>
                <a:gd name="connsiteX28" fmla="*/ 108494 w 3242535"/>
                <a:gd name="connsiteY28" fmla="*/ 797046 h 3241496"/>
                <a:gd name="connsiteX29" fmla="*/ 1146141 w 3242535"/>
                <a:gd name="connsiteY29" fmla="*/ 797046 h 3241496"/>
                <a:gd name="connsiteX30" fmla="*/ 1154487 w 3242535"/>
                <a:gd name="connsiteY30" fmla="*/ 797046 h 3241496"/>
                <a:gd name="connsiteX31" fmla="*/ 492395 w 3242535"/>
                <a:gd name="connsiteY31" fmla="*/ 1797131 h 3241496"/>
                <a:gd name="connsiteX32" fmla="*/ 503523 w 3242535"/>
                <a:gd name="connsiteY32" fmla="*/ 1908251 h 3241496"/>
                <a:gd name="connsiteX33" fmla="*/ 623145 w 3242535"/>
                <a:gd name="connsiteY33" fmla="*/ 2030484 h 3241496"/>
                <a:gd name="connsiteX34" fmla="*/ 475704 w 3242535"/>
                <a:gd name="connsiteY34" fmla="*/ 2172162 h 3241496"/>
                <a:gd name="connsiteX35" fmla="*/ 459013 w 3242535"/>
                <a:gd name="connsiteY35" fmla="*/ 2172162 h 3241496"/>
                <a:gd name="connsiteX36" fmla="*/ 2782 w 3242535"/>
                <a:gd name="connsiteY36" fmla="*/ 1722124 h 3241496"/>
                <a:gd name="connsiteX37" fmla="*/ 0 w 3242535"/>
                <a:gd name="connsiteY37" fmla="*/ 1713790 h 3241496"/>
                <a:gd name="connsiteX38" fmla="*/ 0 w 3242535"/>
                <a:gd name="connsiteY38" fmla="*/ 905389 h 3241496"/>
                <a:gd name="connsiteX39" fmla="*/ 108494 w 3242535"/>
                <a:gd name="connsiteY39" fmla="*/ 797046 h 3241496"/>
                <a:gd name="connsiteX40" fmla="*/ 2453442 w 3242535"/>
                <a:gd name="connsiteY40" fmla="*/ 403487 h 3241496"/>
                <a:gd name="connsiteX41" fmla="*/ 2157833 w 3242535"/>
                <a:gd name="connsiteY41" fmla="*/ 522120 h 3241496"/>
                <a:gd name="connsiteX42" fmla="*/ 2152268 w 3242535"/>
                <a:gd name="connsiteY42" fmla="*/ 1107653 h 3241496"/>
                <a:gd name="connsiteX43" fmla="*/ 2739312 w 3242535"/>
                <a:gd name="connsiteY43" fmla="*/ 1115978 h 3241496"/>
                <a:gd name="connsiteX44" fmla="*/ 2744877 w 3242535"/>
                <a:gd name="connsiteY44" fmla="*/ 530445 h 3241496"/>
                <a:gd name="connsiteX45" fmla="*/ 2453442 w 3242535"/>
                <a:gd name="connsiteY45" fmla="*/ 403487 h 3241496"/>
                <a:gd name="connsiteX46" fmla="*/ 2704465 w 3242535"/>
                <a:gd name="connsiteY46" fmla="*/ 13 h 3241496"/>
                <a:gd name="connsiteX47" fmla="*/ 3142538 w 3242535"/>
                <a:gd name="connsiteY47" fmla="*/ 38262 h 3241496"/>
                <a:gd name="connsiteX48" fmla="*/ 3217628 w 3242535"/>
                <a:gd name="connsiteY48" fmla="*/ 116034 h 3241496"/>
                <a:gd name="connsiteX49" fmla="*/ 2583533 w 3242535"/>
                <a:gd name="connsiteY49" fmla="*/ 1957555 h 3241496"/>
                <a:gd name="connsiteX50" fmla="*/ 1418245 w 3242535"/>
                <a:gd name="connsiteY50" fmla="*/ 2726938 h 3241496"/>
                <a:gd name="connsiteX51" fmla="*/ 1359842 w 3242535"/>
                <a:gd name="connsiteY51" fmla="*/ 2721383 h 3241496"/>
                <a:gd name="connsiteX52" fmla="*/ 1059481 w 3242535"/>
                <a:gd name="connsiteY52" fmla="*/ 2413074 h 3241496"/>
                <a:gd name="connsiteX53" fmla="*/ 1927190 w 3242535"/>
                <a:gd name="connsiteY53" fmla="*/ 1568697 h 3241496"/>
                <a:gd name="connsiteX54" fmla="*/ 1943876 w 3242535"/>
                <a:gd name="connsiteY54" fmla="*/ 1529811 h 3241496"/>
                <a:gd name="connsiteX55" fmla="*/ 1927190 w 3242535"/>
                <a:gd name="connsiteY55" fmla="*/ 1488147 h 3241496"/>
                <a:gd name="connsiteX56" fmla="*/ 1749198 w 3242535"/>
                <a:gd name="connsiteY56" fmla="*/ 1307606 h 3241496"/>
                <a:gd name="connsiteX57" fmla="*/ 1707481 w 3242535"/>
                <a:gd name="connsiteY57" fmla="*/ 1288163 h 3241496"/>
                <a:gd name="connsiteX58" fmla="*/ 1668546 w 3242535"/>
                <a:gd name="connsiteY58" fmla="*/ 1304829 h 3241496"/>
                <a:gd name="connsiteX59" fmla="*/ 800837 w 3242535"/>
                <a:gd name="connsiteY59" fmla="*/ 2149206 h 3241496"/>
                <a:gd name="connsiteX60" fmla="*/ 533850 w 3242535"/>
                <a:gd name="connsiteY60" fmla="*/ 1874228 h 3241496"/>
                <a:gd name="connsiteX61" fmla="*/ 528288 w 3242535"/>
                <a:gd name="connsiteY61" fmla="*/ 1818677 h 3241496"/>
                <a:gd name="connsiteX62" fmla="*/ 1309781 w 3242535"/>
                <a:gd name="connsiteY62" fmla="*/ 643770 h 3241496"/>
                <a:gd name="connsiteX63" fmla="*/ 2704465 w 3242535"/>
                <a:gd name="connsiteY63" fmla="*/ 13 h 324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242535" h="3241496">
                  <a:moveTo>
                    <a:pt x="0" y="2435711"/>
                  </a:moveTo>
                  <a:lnTo>
                    <a:pt x="233253" y="2435711"/>
                  </a:lnTo>
                  <a:lnTo>
                    <a:pt x="233253" y="3008243"/>
                  </a:lnTo>
                  <a:lnTo>
                    <a:pt x="806963" y="3008243"/>
                  </a:lnTo>
                  <a:lnTo>
                    <a:pt x="806963" y="3241496"/>
                  </a:lnTo>
                  <a:lnTo>
                    <a:pt x="0" y="3241496"/>
                  </a:lnTo>
                  <a:close/>
                  <a:moveTo>
                    <a:pt x="2446806" y="2102324"/>
                  </a:moveTo>
                  <a:cubicBezTo>
                    <a:pt x="2446806" y="2102324"/>
                    <a:pt x="2446806" y="2102324"/>
                    <a:pt x="2446806" y="3133136"/>
                  </a:cubicBezTo>
                  <a:cubicBezTo>
                    <a:pt x="2446806" y="3194262"/>
                    <a:pt x="2396768" y="3241496"/>
                    <a:pt x="2338390" y="3241496"/>
                  </a:cubicBezTo>
                  <a:cubicBezTo>
                    <a:pt x="2338390" y="3241496"/>
                    <a:pt x="2338390" y="3241496"/>
                    <a:pt x="1546116" y="3241496"/>
                  </a:cubicBezTo>
                  <a:cubicBezTo>
                    <a:pt x="1543336" y="3241496"/>
                    <a:pt x="1540556" y="3241496"/>
                    <a:pt x="1537777" y="3238718"/>
                  </a:cubicBezTo>
                  <a:cubicBezTo>
                    <a:pt x="1537777" y="3238718"/>
                    <a:pt x="1537777" y="3238718"/>
                    <a:pt x="1081872" y="2788606"/>
                  </a:cubicBezTo>
                  <a:cubicBezTo>
                    <a:pt x="1079092" y="2783049"/>
                    <a:pt x="1079092" y="2774714"/>
                    <a:pt x="1081872" y="2771935"/>
                  </a:cubicBezTo>
                  <a:cubicBezTo>
                    <a:pt x="1081872" y="2771935"/>
                    <a:pt x="1081872" y="2771935"/>
                    <a:pt x="1218087" y="2638569"/>
                  </a:cubicBezTo>
                  <a:cubicBezTo>
                    <a:pt x="1218087" y="2638569"/>
                    <a:pt x="1218087" y="2638569"/>
                    <a:pt x="1329284" y="2752486"/>
                  </a:cubicBezTo>
                  <a:cubicBezTo>
                    <a:pt x="1345963" y="2771935"/>
                    <a:pt x="1368202" y="2780270"/>
                    <a:pt x="1393221" y="2780270"/>
                  </a:cubicBezTo>
                  <a:cubicBezTo>
                    <a:pt x="1409901" y="2780270"/>
                    <a:pt x="1426580" y="2774714"/>
                    <a:pt x="1440480" y="2766378"/>
                  </a:cubicBezTo>
                  <a:close/>
                  <a:moveTo>
                    <a:pt x="1709110" y="1334446"/>
                  </a:moveTo>
                  <a:cubicBezTo>
                    <a:pt x="1712589" y="1334446"/>
                    <a:pt x="1716068" y="1335835"/>
                    <a:pt x="1718851" y="1338611"/>
                  </a:cubicBezTo>
                  <a:cubicBezTo>
                    <a:pt x="1718851" y="1338611"/>
                    <a:pt x="1718851" y="1338611"/>
                    <a:pt x="1896981" y="1519093"/>
                  </a:cubicBezTo>
                  <a:cubicBezTo>
                    <a:pt x="1902547" y="1524646"/>
                    <a:pt x="1902547" y="1532976"/>
                    <a:pt x="1896981" y="1538529"/>
                  </a:cubicBezTo>
                  <a:cubicBezTo>
                    <a:pt x="1896981" y="1538529"/>
                    <a:pt x="1896981" y="1538529"/>
                    <a:pt x="867170" y="2540895"/>
                  </a:cubicBezTo>
                  <a:cubicBezTo>
                    <a:pt x="861604" y="2546448"/>
                    <a:pt x="853254" y="2543672"/>
                    <a:pt x="847688" y="2540895"/>
                  </a:cubicBezTo>
                  <a:cubicBezTo>
                    <a:pt x="847688" y="2540895"/>
                    <a:pt x="847688" y="2540895"/>
                    <a:pt x="741923" y="2429829"/>
                  </a:cubicBezTo>
                  <a:cubicBezTo>
                    <a:pt x="741923" y="2429829"/>
                    <a:pt x="741923" y="2429829"/>
                    <a:pt x="669559" y="2357637"/>
                  </a:cubicBezTo>
                  <a:cubicBezTo>
                    <a:pt x="666775" y="2352084"/>
                    <a:pt x="666775" y="2343754"/>
                    <a:pt x="669559" y="2338201"/>
                  </a:cubicBezTo>
                  <a:cubicBezTo>
                    <a:pt x="669559" y="2338201"/>
                    <a:pt x="669559" y="2338201"/>
                    <a:pt x="1699368" y="1338611"/>
                  </a:cubicBezTo>
                  <a:cubicBezTo>
                    <a:pt x="1702152" y="1335835"/>
                    <a:pt x="1705631" y="1334446"/>
                    <a:pt x="1709110" y="1334446"/>
                  </a:cubicBezTo>
                  <a:close/>
                  <a:moveTo>
                    <a:pt x="108494" y="797046"/>
                  </a:moveTo>
                  <a:cubicBezTo>
                    <a:pt x="108494" y="797046"/>
                    <a:pt x="108494" y="797046"/>
                    <a:pt x="1146141" y="797046"/>
                  </a:cubicBezTo>
                  <a:cubicBezTo>
                    <a:pt x="1146141" y="797046"/>
                    <a:pt x="1146141" y="797046"/>
                    <a:pt x="1154487" y="797046"/>
                  </a:cubicBezTo>
                  <a:cubicBezTo>
                    <a:pt x="1154487" y="797046"/>
                    <a:pt x="1154487" y="797046"/>
                    <a:pt x="492395" y="1797131"/>
                  </a:cubicBezTo>
                  <a:cubicBezTo>
                    <a:pt x="470140" y="1830467"/>
                    <a:pt x="472922" y="1877693"/>
                    <a:pt x="503523" y="1908251"/>
                  </a:cubicBezTo>
                  <a:lnTo>
                    <a:pt x="623145" y="2030484"/>
                  </a:lnTo>
                  <a:cubicBezTo>
                    <a:pt x="623145" y="2030484"/>
                    <a:pt x="623145" y="2030484"/>
                    <a:pt x="475704" y="2172162"/>
                  </a:cubicBezTo>
                  <a:cubicBezTo>
                    <a:pt x="472922" y="2177718"/>
                    <a:pt x="464576" y="2177718"/>
                    <a:pt x="459013" y="2172162"/>
                  </a:cubicBezTo>
                  <a:cubicBezTo>
                    <a:pt x="459013" y="2172162"/>
                    <a:pt x="459013" y="2172162"/>
                    <a:pt x="2782" y="1722124"/>
                  </a:cubicBezTo>
                  <a:cubicBezTo>
                    <a:pt x="0" y="1719346"/>
                    <a:pt x="0" y="1716568"/>
                    <a:pt x="0" y="1713790"/>
                  </a:cubicBezTo>
                  <a:cubicBezTo>
                    <a:pt x="0" y="1713790"/>
                    <a:pt x="0" y="1713790"/>
                    <a:pt x="0" y="905389"/>
                  </a:cubicBezTo>
                  <a:cubicBezTo>
                    <a:pt x="0" y="847050"/>
                    <a:pt x="47292" y="797046"/>
                    <a:pt x="108494" y="797046"/>
                  </a:cubicBezTo>
                  <a:close/>
                  <a:moveTo>
                    <a:pt x="2453442" y="403487"/>
                  </a:moveTo>
                  <a:cubicBezTo>
                    <a:pt x="2347023" y="402100"/>
                    <a:pt x="2239908" y="441644"/>
                    <a:pt x="2157833" y="522120"/>
                  </a:cubicBezTo>
                  <a:cubicBezTo>
                    <a:pt x="1993683" y="680297"/>
                    <a:pt x="1990901" y="943926"/>
                    <a:pt x="2152268" y="1107653"/>
                  </a:cubicBezTo>
                  <a:cubicBezTo>
                    <a:pt x="2310854" y="1271380"/>
                    <a:pt x="2575163" y="1274155"/>
                    <a:pt x="2739312" y="1115978"/>
                  </a:cubicBezTo>
                  <a:cubicBezTo>
                    <a:pt x="2903462" y="955026"/>
                    <a:pt x="2906244" y="694173"/>
                    <a:pt x="2744877" y="530445"/>
                  </a:cubicBezTo>
                  <a:cubicBezTo>
                    <a:pt x="2665584" y="447194"/>
                    <a:pt x="2559860" y="404875"/>
                    <a:pt x="2453442" y="403487"/>
                  </a:cubicBezTo>
                  <a:close/>
                  <a:moveTo>
                    <a:pt x="2704465" y="13"/>
                  </a:moveTo>
                  <a:cubicBezTo>
                    <a:pt x="2899897" y="613"/>
                    <a:pt x="3059105" y="23506"/>
                    <a:pt x="3142538" y="38262"/>
                  </a:cubicBezTo>
                  <a:cubicBezTo>
                    <a:pt x="3181474" y="46595"/>
                    <a:pt x="3212066" y="77148"/>
                    <a:pt x="3217628" y="116034"/>
                  </a:cubicBezTo>
                  <a:cubicBezTo>
                    <a:pt x="3253783" y="393789"/>
                    <a:pt x="3353903" y="1507590"/>
                    <a:pt x="2583533" y="1957555"/>
                  </a:cubicBezTo>
                  <a:cubicBezTo>
                    <a:pt x="2583533" y="1957555"/>
                    <a:pt x="2583533" y="1957555"/>
                    <a:pt x="1418245" y="2726938"/>
                  </a:cubicBezTo>
                  <a:cubicBezTo>
                    <a:pt x="1398777" y="2740826"/>
                    <a:pt x="1376528" y="2738049"/>
                    <a:pt x="1359842" y="2721383"/>
                  </a:cubicBezTo>
                  <a:cubicBezTo>
                    <a:pt x="1359842" y="2721383"/>
                    <a:pt x="1359842" y="2721383"/>
                    <a:pt x="1059481" y="2413074"/>
                  </a:cubicBezTo>
                  <a:cubicBezTo>
                    <a:pt x="1059481" y="2413074"/>
                    <a:pt x="1059481" y="2413074"/>
                    <a:pt x="1927190" y="1568697"/>
                  </a:cubicBezTo>
                  <a:cubicBezTo>
                    <a:pt x="1938314" y="1560364"/>
                    <a:pt x="1943876" y="1543699"/>
                    <a:pt x="1943876" y="1529811"/>
                  </a:cubicBezTo>
                  <a:cubicBezTo>
                    <a:pt x="1943876" y="1513145"/>
                    <a:pt x="1938314" y="1499258"/>
                    <a:pt x="1927190" y="1488147"/>
                  </a:cubicBezTo>
                  <a:cubicBezTo>
                    <a:pt x="1927190" y="1488147"/>
                    <a:pt x="1927190" y="1488147"/>
                    <a:pt x="1749198" y="1307606"/>
                  </a:cubicBezTo>
                  <a:cubicBezTo>
                    <a:pt x="1738074" y="1296496"/>
                    <a:pt x="1724168" y="1288163"/>
                    <a:pt x="1707481" y="1288163"/>
                  </a:cubicBezTo>
                  <a:cubicBezTo>
                    <a:pt x="1693576" y="1288163"/>
                    <a:pt x="1679670" y="1293718"/>
                    <a:pt x="1668546" y="1304829"/>
                  </a:cubicBezTo>
                  <a:cubicBezTo>
                    <a:pt x="1668546" y="1304829"/>
                    <a:pt x="1668546" y="1304829"/>
                    <a:pt x="800837" y="2149206"/>
                  </a:cubicBezTo>
                  <a:cubicBezTo>
                    <a:pt x="800837" y="2149206"/>
                    <a:pt x="800837" y="2149206"/>
                    <a:pt x="533850" y="1874228"/>
                  </a:cubicBezTo>
                  <a:cubicBezTo>
                    <a:pt x="519944" y="1860340"/>
                    <a:pt x="517163" y="1838120"/>
                    <a:pt x="528288" y="1818677"/>
                  </a:cubicBezTo>
                  <a:cubicBezTo>
                    <a:pt x="528288" y="1818677"/>
                    <a:pt x="528288" y="1818677"/>
                    <a:pt x="1309781" y="643770"/>
                  </a:cubicBezTo>
                  <a:cubicBezTo>
                    <a:pt x="1669241" y="105271"/>
                    <a:pt x="2274515" y="-1307"/>
                    <a:pt x="2704465" y="13"/>
                  </a:cubicBezTo>
                  <a:close/>
                </a:path>
              </a:pathLst>
            </a:custGeom>
            <a:solidFill>
              <a:srgbClr val="0F78D4"/>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0" name="Group 9">
            <a:extLst>
              <a:ext uri="{FF2B5EF4-FFF2-40B4-BE49-F238E27FC236}">
                <a16:creationId xmlns:a16="http://schemas.microsoft.com/office/drawing/2014/main" id="{D238BA42-852F-4904-BAE8-BA8E9474C645}"/>
              </a:ext>
            </a:extLst>
          </p:cNvPr>
          <p:cNvGrpSpPr/>
          <p:nvPr/>
        </p:nvGrpSpPr>
        <p:grpSpPr>
          <a:xfrm>
            <a:off x="4566716" y="4363312"/>
            <a:ext cx="1452746" cy="548640"/>
            <a:chOff x="4566716" y="4363312"/>
            <a:chExt cx="1452746" cy="548640"/>
          </a:xfrm>
        </p:grpSpPr>
        <p:sp>
          <p:nvSpPr>
            <p:cNvPr id="127" name="Title 1">
              <a:extLst>
                <a:ext uri="{FF2B5EF4-FFF2-40B4-BE49-F238E27FC236}">
                  <a16:creationId xmlns:a16="http://schemas.microsoft.com/office/drawing/2014/main" id="{AE5619E0-E1BB-4608-8BA6-793EE94D9A89}"/>
                </a:ext>
              </a:extLst>
            </p:cNvPr>
            <p:cNvSpPr txBox="1">
              <a:spLocks/>
            </p:cNvSpPr>
            <p:nvPr/>
          </p:nvSpPr>
          <p:spPr>
            <a:xfrm>
              <a:off x="4566716" y="4559149"/>
              <a:ext cx="827321" cy="156966"/>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r" defTabSz="932384">
                <a:lnSpc>
                  <a:spcPct val="100000"/>
                </a:lnSpc>
                <a:defRPr/>
              </a:pPr>
              <a:r>
                <a:rPr lang="en-US" sz="1020" spc="0">
                  <a:solidFill>
                    <a:srgbClr val="000000"/>
                  </a:solidFill>
                  <a:latin typeface="Segoe UI Semibold" panose="020B0702040204020203" pitchFamily="34" charset="0"/>
                  <a:cs typeface="Segoe UI Semibold" panose="020B0702040204020203" pitchFamily="34" charset="0"/>
                </a:rPr>
                <a:t>Helm chart </a:t>
              </a:r>
            </a:p>
          </p:txBody>
        </p:sp>
        <p:grpSp>
          <p:nvGrpSpPr>
            <p:cNvPr id="168" name="Group 167">
              <a:extLst>
                <a:ext uri="{FF2B5EF4-FFF2-40B4-BE49-F238E27FC236}">
                  <a16:creationId xmlns:a16="http://schemas.microsoft.com/office/drawing/2014/main" id="{40B9A519-3CA2-4FF6-9683-0E7BC0155029}"/>
                </a:ext>
              </a:extLst>
            </p:cNvPr>
            <p:cNvGrpSpPr/>
            <p:nvPr/>
          </p:nvGrpSpPr>
          <p:grpSpPr>
            <a:xfrm>
              <a:off x="5470822" y="4363312"/>
              <a:ext cx="548640" cy="548640"/>
              <a:chOff x="2544050" y="5011012"/>
              <a:chExt cx="548640" cy="548640"/>
            </a:xfrm>
          </p:grpSpPr>
          <p:sp>
            <p:nvSpPr>
              <p:cNvPr id="170" name="Rectangle: Rounded Corners 169">
                <a:extLst>
                  <a:ext uri="{FF2B5EF4-FFF2-40B4-BE49-F238E27FC236}">
                    <a16:creationId xmlns:a16="http://schemas.microsoft.com/office/drawing/2014/main" id="{83DA8742-CD9D-4BB7-9EEE-4280B5607A49}"/>
                  </a:ext>
                </a:extLst>
              </p:cNvPr>
              <p:cNvSpPr/>
              <p:nvPr/>
            </p:nvSpPr>
            <p:spPr bwMode="auto">
              <a:xfrm>
                <a:off x="2544050" y="5011012"/>
                <a:ext cx="548640" cy="548640"/>
              </a:xfrm>
              <a:prstGeom prst="roundRect">
                <a:avLst>
                  <a:gd name="adj" fmla="val 3125"/>
                </a:avLst>
              </a:prstGeom>
              <a:solidFill>
                <a:srgbClr val="FFFFFF"/>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endParaRPr lang="en-US" sz="1198">
                  <a:solidFill>
                    <a:srgbClr val="505050"/>
                  </a:solidFill>
                  <a:latin typeface="Segoe UI"/>
                  <a:cs typeface="Segoe UI" pitchFamily="34" charset="0"/>
                </a:endParaRPr>
              </a:p>
            </p:txBody>
          </p:sp>
          <p:sp>
            <p:nvSpPr>
              <p:cNvPr id="169" name="CRMArticles_EFF5" title="Icon of two documents stacked together with writing on them">
                <a:extLst>
                  <a:ext uri="{FF2B5EF4-FFF2-40B4-BE49-F238E27FC236}">
                    <a16:creationId xmlns:a16="http://schemas.microsoft.com/office/drawing/2014/main" id="{3A5450FF-5409-4E5A-83DD-DED718A6F9B7}"/>
                  </a:ext>
                </a:extLst>
              </p:cNvPr>
              <p:cNvSpPr>
                <a:spLocks noChangeAspect="1" noEditPoints="1"/>
              </p:cNvSpPr>
              <p:nvPr/>
            </p:nvSpPr>
            <p:spPr bwMode="auto">
              <a:xfrm>
                <a:off x="2674689" y="5119475"/>
                <a:ext cx="287363" cy="331715"/>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defRPr/>
                </a:pPr>
                <a:endParaRPr lang="en-US">
                  <a:solidFill>
                    <a:srgbClr val="505050"/>
                  </a:solidFill>
                  <a:latin typeface="Segoe UI"/>
                </a:endParaRPr>
              </a:p>
            </p:txBody>
          </p:sp>
        </p:grpSp>
      </p:grpSp>
      <p:sp>
        <p:nvSpPr>
          <p:cNvPr id="121" name="Title 1">
            <a:extLst>
              <a:ext uri="{FF2B5EF4-FFF2-40B4-BE49-F238E27FC236}">
                <a16:creationId xmlns:a16="http://schemas.microsoft.com/office/drawing/2014/main" id="{1AF5A7D6-BC3E-4E30-8384-C0008733A382}"/>
              </a:ext>
            </a:extLst>
          </p:cNvPr>
          <p:cNvSpPr txBox="1">
            <a:spLocks/>
          </p:cNvSpPr>
          <p:nvPr/>
        </p:nvSpPr>
        <p:spPr>
          <a:xfrm>
            <a:off x="3871346" y="2097755"/>
            <a:ext cx="839344" cy="320182"/>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51304">
              <a:lnSpc>
                <a:spcPct val="100000"/>
              </a:lnSpc>
              <a:defRPr/>
            </a:pPr>
            <a:r>
              <a:rPr lang="en-US" sz="1020" spc="0">
                <a:solidFill>
                  <a:srgbClr val="000000"/>
                </a:solidFill>
                <a:latin typeface="Segoe UI Semibold" panose="020B0702040204020203" pitchFamily="34" charset="0"/>
                <a:cs typeface="Segoe UI Semibold" panose="020B0702040204020203" pitchFamily="34" charset="0"/>
              </a:rPr>
              <a:t>Source </a:t>
            </a:r>
            <a:br>
              <a:rPr lang="en-US" sz="1020" spc="0">
                <a:solidFill>
                  <a:srgbClr val="000000"/>
                </a:solidFill>
                <a:latin typeface="Segoe UI Semibold" panose="020B0702040204020203" pitchFamily="34" charset="0"/>
                <a:cs typeface="Segoe UI Semibold" panose="020B0702040204020203" pitchFamily="34" charset="0"/>
              </a:rPr>
            </a:br>
            <a:r>
              <a:rPr lang="en-US" sz="1020" spc="0">
                <a:solidFill>
                  <a:srgbClr val="000000"/>
                </a:solidFill>
                <a:latin typeface="Segoe UI Semibold" panose="020B0702040204020203" pitchFamily="34" charset="0"/>
                <a:cs typeface="Segoe UI Semibold" panose="020B0702040204020203" pitchFamily="34" charset="0"/>
              </a:rPr>
              <a:t>code control</a:t>
            </a:r>
          </a:p>
        </p:txBody>
      </p:sp>
    </p:spTree>
    <p:extLst>
      <p:ext uri="{BB962C8B-B14F-4D97-AF65-F5344CB8AC3E}">
        <p14:creationId xmlns:p14="http://schemas.microsoft.com/office/powerpoint/2010/main" val="36103864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8"/>
                                        </p:tgtEl>
                                        <p:attrNameLst>
                                          <p:attrName>style.visibility</p:attrName>
                                        </p:attrNameLst>
                                      </p:cBhvr>
                                      <p:to>
                                        <p:strVal val="visible"/>
                                      </p:to>
                                    </p:set>
                                    <p:animEffect transition="in" filter="fade">
                                      <p:cBhvr>
                                        <p:cTn id="7" dur="500"/>
                                        <p:tgtEl>
                                          <p:spTgt spid="128"/>
                                        </p:tgtEl>
                                      </p:cBhvr>
                                    </p:animEffect>
                                  </p:childTnLst>
                                </p:cTn>
                              </p:par>
                              <p:par>
                                <p:cTn id="8" presetID="22" presetClass="entr" presetSubtype="8" fill="hold" nodeType="withEffect">
                                  <p:stCondLst>
                                    <p:cond delay="0"/>
                                  </p:stCondLst>
                                  <p:childTnLst>
                                    <p:set>
                                      <p:cBhvr>
                                        <p:cTn id="9" dur="1" fill="hold">
                                          <p:stCondLst>
                                            <p:cond delay="0"/>
                                          </p:stCondLst>
                                        </p:cTn>
                                        <p:tgtEl>
                                          <p:spTgt spid="122"/>
                                        </p:tgtEl>
                                        <p:attrNameLst>
                                          <p:attrName>style.visibility</p:attrName>
                                        </p:attrNameLst>
                                      </p:cBhvr>
                                      <p:to>
                                        <p:strVal val="visible"/>
                                      </p:to>
                                    </p:set>
                                    <p:animEffect transition="in" filter="wipe(left)">
                                      <p:cBhvr>
                                        <p:cTn id="10" dur="500"/>
                                        <p:tgtEl>
                                          <p:spTgt spid="122"/>
                                        </p:tgtEl>
                                      </p:cBhvr>
                                    </p:animEffect>
                                  </p:childTnLst>
                                </p:cTn>
                              </p:par>
                              <p:par>
                                <p:cTn id="11" presetID="10" presetClass="entr" presetSubtype="0" fill="hold" nodeType="withEffect">
                                  <p:stCondLst>
                                    <p:cond delay="500"/>
                                  </p:stCondLst>
                                  <p:childTnLst>
                                    <p:set>
                                      <p:cBhvr>
                                        <p:cTn id="12" dur="1" fill="hold">
                                          <p:stCondLst>
                                            <p:cond delay="0"/>
                                          </p:stCondLst>
                                        </p:cTn>
                                        <p:tgtEl>
                                          <p:spTgt spid="156"/>
                                        </p:tgtEl>
                                        <p:attrNameLst>
                                          <p:attrName>style.visibility</p:attrName>
                                        </p:attrNameLst>
                                      </p:cBhvr>
                                      <p:to>
                                        <p:strVal val="visible"/>
                                      </p:to>
                                    </p:set>
                                    <p:animEffect transition="in" filter="fade">
                                      <p:cBhvr>
                                        <p:cTn id="13" dur="500"/>
                                        <p:tgtEl>
                                          <p:spTgt spid="156"/>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nodeType="clickEffect">
                                  <p:stCondLst>
                                    <p:cond delay="0"/>
                                  </p:stCondLst>
                                  <p:childTnLst>
                                    <p:set>
                                      <p:cBhvr>
                                        <p:cTn id="17" dur="1" fill="hold">
                                          <p:stCondLst>
                                            <p:cond delay="0"/>
                                          </p:stCondLst>
                                        </p:cTn>
                                        <p:tgtEl>
                                          <p:spTgt spid="255"/>
                                        </p:tgtEl>
                                        <p:attrNameLst>
                                          <p:attrName>style.visibility</p:attrName>
                                        </p:attrNameLst>
                                      </p:cBhvr>
                                      <p:to>
                                        <p:strVal val="visible"/>
                                      </p:to>
                                    </p:set>
                                    <p:animEffect transition="in" filter="wipe(up)">
                                      <p:cBhvr>
                                        <p:cTn id="18" dur="500"/>
                                        <p:tgtEl>
                                          <p:spTgt spid="255"/>
                                        </p:tgtEl>
                                      </p:cBhvr>
                                    </p:animEffect>
                                  </p:childTnLst>
                                </p:cTn>
                              </p:par>
                              <p:par>
                                <p:cTn id="19" presetID="10" presetClass="entr" presetSubtype="0" fill="hold" grpId="0" nodeType="withEffect">
                                  <p:stCondLst>
                                    <p:cond delay="250"/>
                                  </p:stCondLst>
                                  <p:childTnLst>
                                    <p:set>
                                      <p:cBhvr>
                                        <p:cTn id="20" dur="1" fill="hold">
                                          <p:stCondLst>
                                            <p:cond delay="0"/>
                                          </p:stCondLst>
                                        </p:cTn>
                                        <p:tgtEl>
                                          <p:spTgt spid="254"/>
                                        </p:tgtEl>
                                        <p:attrNameLst>
                                          <p:attrName>style.visibility</p:attrName>
                                        </p:attrNameLst>
                                      </p:cBhvr>
                                      <p:to>
                                        <p:strVal val="visible"/>
                                      </p:to>
                                    </p:set>
                                    <p:animEffect transition="in" filter="fade">
                                      <p:cBhvr>
                                        <p:cTn id="21" dur="250"/>
                                        <p:tgtEl>
                                          <p:spTgt spid="254"/>
                                        </p:tgtEl>
                                      </p:cBhvr>
                                    </p:animEffect>
                                  </p:childTnLst>
                                </p:cTn>
                              </p:par>
                            </p:childTnLst>
                          </p:cTn>
                        </p:par>
                        <p:par>
                          <p:cTn id="22" fill="hold">
                            <p:stCondLst>
                              <p:cond delay="500"/>
                            </p:stCondLst>
                            <p:childTnLst>
                              <p:par>
                                <p:cTn id="23" presetID="22" presetClass="entr" presetSubtype="8" fill="hold" nodeType="afterEffect">
                                  <p:stCondLst>
                                    <p:cond delay="0"/>
                                  </p:stCondLst>
                                  <p:childTnLst>
                                    <p:set>
                                      <p:cBhvr>
                                        <p:cTn id="24" dur="1" fill="hold">
                                          <p:stCondLst>
                                            <p:cond delay="0"/>
                                          </p:stCondLst>
                                        </p:cTn>
                                        <p:tgtEl>
                                          <p:spTgt spid="256"/>
                                        </p:tgtEl>
                                        <p:attrNameLst>
                                          <p:attrName>style.visibility</p:attrName>
                                        </p:attrNameLst>
                                      </p:cBhvr>
                                      <p:to>
                                        <p:strVal val="visible"/>
                                      </p:to>
                                    </p:set>
                                    <p:animEffect transition="in" filter="wipe(left)">
                                      <p:cBhvr>
                                        <p:cTn id="25" dur="500"/>
                                        <p:tgtEl>
                                          <p:spTgt spid="256"/>
                                        </p:tgtEl>
                                      </p:cBhvr>
                                    </p:animEffect>
                                  </p:childTnLst>
                                </p:cTn>
                              </p:par>
                              <p:par>
                                <p:cTn id="26" presetID="22" presetClass="entr" presetSubtype="8" fill="hold" nodeType="withEffect">
                                  <p:stCondLst>
                                    <p:cond delay="0"/>
                                  </p:stCondLst>
                                  <p:childTnLst>
                                    <p:set>
                                      <p:cBhvr>
                                        <p:cTn id="27" dur="1" fill="hold">
                                          <p:stCondLst>
                                            <p:cond delay="0"/>
                                          </p:stCondLst>
                                        </p:cTn>
                                        <p:tgtEl>
                                          <p:spTgt spid="120"/>
                                        </p:tgtEl>
                                        <p:attrNameLst>
                                          <p:attrName>style.visibility</p:attrName>
                                        </p:attrNameLst>
                                      </p:cBhvr>
                                      <p:to>
                                        <p:strVal val="visible"/>
                                      </p:to>
                                    </p:set>
                                    <p:animEffect transition="in" filter="wipe(left)">
                                      <p:cBhvr>
                                        <p:cTn id="28" dur="500"/>
                                        <p:tgtEl>
                                          <p:spTgt spid="120"/>
                                        </p:tgtEl>
                                      </p:cBhvr>
                                    </p:animEffect>
                                  </p:childTnLst>
                                </p:cTn>
                              </p:par>
                            </p:childTnLst>
                          </p:cTn>
                        </p:par>
                        <p:par>
                          <p:cTn id="29" fill="hold">
                            <p:stCondLst>
                              <p:cond delay="1000"/>
                            </p:stCondLst>
                            <p:childTnLst>
                              <p:par>
                                <p:cTn id="30" presetID="10" presetClass="entr" presetSubtype="0" fill="hold" nodeType="afterEffect">
                                  <p:stCondLst>
                                    <p:cond delay="0"/>
                                  </p:stCondLst>
                                  <p:childTnLst>
                                    <p:set>
                                      <p:cBhvr>
                                        <p:cTn id="31" dur="1" fill="hold">
                                          <p:stCondLst>
                                            <p:cond delay="0"/>
                                          </p:stCondLst>
                                        </p:cTn>
                                        <p:tgtEl>
                                          <p:spTgt spid="177"/>
                                        </p:tgtEl>
                                        <p:attrNameLst>
                                          <p:attrName>style.visibility</p:attrName>
                                        </p:attrNameLst>
                                      </p:cBhvr>
                                      <p:to>
                                        <p:strVal val="visible"/>
                                      </p:to>
                                    </p:set>
                                    <p:animEffect transition="in" filter="fade">
                                      <p:cBhvr>
                                        <p:cTn id="32" dur="500"/>
                                        <p:tgtEl>
                                          <p:spTgt spid="177"/>
                                        </p:tgtEl>
                                      </p:cBhvr>
                                    </p:animEffect>
                                  </p:childTnLst>
                                </p:cTn>
                              </p:par>
                              <p:par>
                                <p:cTn id="33" presetID="10" presetClass="entr" presetSubtype="0" fill="hold"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childTnLst>
                          </p:cTn>
                        </p:par>
                        <p:par>
                          <p:cTn id="36" fill="hold">
                            <p:stCondLst>
                              <p:cond delay="1500"/>
                            </p:stCondLst>
                            <p:childTnLst>
                              <p:par>
                                <p:cTn id="37" presetID="10" presetClass="entr" presetSubtype="0" fill="hold" grpId="0" nodeType="afterEffect">
                                  <p:stCondLst>
                                    <p:cond delay="0"/>
                                  </p:stCondLst>
                                  <p:childTnLst>
                                    <p:set>
                                      <p:cBhvr>
                                        <p:cTn id="38" dur="1" fill="hold">
                                          <p:stCondLst>
                                            <p:cond delay="0"/>
                                          </p:stCondLst>
                                        </p:cTn>
                                        <p:tgtEl>
                                          <p:spTgt spid="189"/>
                                        </p:tgtEl>
                                        <p:attrNameLst>
                                          <p:attrName>style.visibility</p:attrName>
                                        </p:attrNameLst>
                                      </p:cBhvr>
                                      <p:to>
                                        <p:strVal val="visible"/>
                                      </p:to>
                                    </p:set>
                                    <p:animEffect transition="in" filter="fade">
                                      <p:cBhvr>
                                        <p:cTn id="39" dur="500"/>
                                        <p:tgtEl>
                                          <p:spTgt spid="189"/>
                                        </p:tgtEl>
                                      </p:cBhvr>
                                    </p:animEffect>
                                  </p:childTnLst>
                                </p:cTn>
                              </p:par>
                              <p:par>
                                <p:cTn id="40" presetID="22" presetClass="entr" presetSubtype="4" fill="hold" nodeType="withEffect">
                                  <p:stCondLst>
                                    <p:cond delay="0"/>
                                  </p:stCondLst>
                                  <p:childTnLst>
                                    <p:set>
                                      <p:cBhvr>
                                        <p:cTn id="41" dur="1" fill="hold">
                                          <p:stCondLst>
                                            <p:cond delay="0"/>
                                          </p:stCondLst>
                                        </p:cTn>
                                        <p:tgtEl>
                                          <p:spTgt spid="188"/>
                                        </p:tgtEl>
                                        <p:attrNameLst>
                                          <p:attrName>style.visibility</p:attrName>
                                        </p:attrNameLst>
                                      </p:cBhvr>
                                      <p:to>
                                        <p:strVal val="visible"/>
                                      </p:to>
                                    </p:set>
                                    <p:animEffect transition="in" filter="wipe(down)">
                                      <p:cBhvr>
                                        <p:cTn id="42" dur="500"/>
                                        <p:tgtEl>
                                          <p:spTgt spid="188"/>
                                        </p:tgtEl>
                                      </p:cBhvr>
                                    </p:animEffect>
                                  </p:childTnLst>
                                </p:cTn>
                              </p:par>
                              <p:par>
                                <p:cTn id="43" presetID="10" presetClass="entr" presetSubtype="0" fill="hold" nodeType="with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fade">
                                      <p:cBhvr>
                                        <p:cTn id="45" dur="500"/>
                                        <p:tgtEl>
                                          <p:spTgt spid="1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90"/>
                                        </p:tgtEl>
                                        <p:attrNameLst>
                                          <p:attrName>style.visibility</p:attrName>
                                        </p:attrNameLst>
                                      </p:cBhvr>
                                      <p:to>
                                        <p:strVal val="visible"/>
                                      </p:to>
                                    </p:set>
                                    <p:animEffect transition="in" filter="fade">
                                      <p:cBhvr>
                                        <p:cTn id="48" dur="500"/>
                                        <p:tgtEl>
                                          <p:spTgt spid="190"/>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8" fill="hold" nodeType="clickEffect">
                                  <p:stCondLst>
                                    <p:cond delay="0"/>
                                  </p:stCondLst>
                                  <p:childTnLst>
                                    <p:set>
                                      <p:cBhvr>
                                        <p:cTn id="52" dur="1" fill="hold">
                                          <p:stCondLst>
                                            <p:cond delay="0"/>
                                          </p:stCondLst>
                                        </p:cTn>
                                        <p:tgtEl>
                                          <p:spTgt spid="191"/>
                                        </p:tgtEl>
                                        <p:attrNameLst>
                                          <p:attrName>style.visibility</p:attrName>
                                        </p:attrNameLst>
                                      </p:cBhvr>
                                      <p:to>
                                        <p:strVal val="visible"/>
                                      </p:to>
                                    </p:set>
                                    <p:animEffect transition="in" filter="wipe(left)">
                                      <p:cBhvr>
                                        <p:cTn id="53" dur="500"/>
                                        <p:tgtEl>
                                          <p:spTgt spid="191"/>
                                        </p:tgtEl>
                                      </p:cBhvr>
                                    </p:animEffect>
                                  </p:childTnLst>
                                </p:cTn>
                              </p:par>
                            </p:childTnLst>
                          </p:cTn>
                        </p:par>
                        <p:par>
                          <p:cTn id="54" fill="hold">
                            <p:stCondLst>
                              <p:cond delay="500"/>
                            </p:stCondLst>
                            <p:childTnLst>
                              <p:par>
                                <p:cTn id="55" presetID="10" presetClass="entr" presetSubtype="0" fill="hold" nodeType="afterEffect">
                                  <p:stCondLst>
                                    <p:cond delay="0"/>
                                  </p:stCondLst>
                                  <p:childTnLst>
                                    <p:set>
                                      <p:cBhvr>
                                        <p:cTn id="56" dur="1" fill="hold">
                                          <p:stCondLst>
                                            <p:cond delay="0"/>
                                          </p:stCondLst>
                                        </p:cTn>
                                        <p:tgtEl>
                                          <p:spTgt spid="117"/>
                                        </p:tgtEl>
                                        <p:attrNameLst>
                                          <p:attrName>style.visibility</p:attrName>
                                        </p:attrNameLst>
                                      </p:cBhvr>
                                      <p:to>
                                        <p:strVal val="visible"/>
                                      </p:to>
                                    </p:set>
                                    <p:animEffect transition="in" filter="fade">
                                      <p:cBhvr>
                                        <p:cTn id="57" dur="500"/>
                                        <p:tgtEl>
                                          <p:spTgt spid="117"/>
                                        </p:tgtEl>
                                      </p:cBhvr>
                                    </p:animEffect>
                                  </p:childTnLst>
                                </p:cTn>
                              </p:par>
                            </p:childTnLst>
                          </p:cTn>
                        </p:par>
                        <p:par>
                          <p:cTn id="58" fill="hold">
                            <p:stCondLst>
                              <p:cond delay="1000"/>
                            </p:stCondLst>
                            <p:childTnLst>
                              <p:par>
                                <p:cTn id="59" presetID="10" presetClass="entr" presetSubtype="0" fill="hold" nodeType="afterEffect">
                                  <p:stCondLst>
                                    <p:cond delay="0"/>
                                  </p:stCondLst>
                                  <p:childTnLst>
                                    <p:set>
                                      <p:cBhvr>
                                        <p:cTn id="60" dur="1" fill="hold">
                                          <p:stCondLst>
                                            <p:cond delay="0"/>
                                          </p:stCondLst>
                                        </p:cTn>
                                        <p:tgtEl>
                                          <p:spTgt spid="222"/>
                                        </p:tgtEl>
                                        <p:attrNameLst>
                                          <p:attrName>style.visibility</p:attrName>
                                        </p:attrNameLst>
                                      </p:cBhvr>
                                      <p:to>
                                        <p:strVal val="visible"/>
                                      </p:to>
                                    </p:set>
                                    <p:animEffect transition="in" filter="fade">
                                      <p:cBhvr>
                                        <p:cTn id="61" dur="500"/>
                                        <p:tgtEl>
                                          <p:spTgt spid="222"/>
                                        </p:tgtEl>
                                      </p:cBhvr>
                                    </p:animEffect>
                                  </p:childTnLst>
                                </p:cTn>
                              </p:par>
                              <p:par>
                                <p:cTn id="62" presetID="10" presetClass="entr" presetSubtype="0" fill="hold" nodeType="withEffect">
                                  <p:stCondLst>
                                    <p:cond delay="0"/>
                                  </p:stCondLst>
                                  <p:childTnLst>
                                    <p:set>
                                      <p:cBhvr>
                                        <p:cTn id="63" dur="1" fill="hold">
                                          <p:stCondLst>
                                            <p:cond delay="0"/>
                                          </p:stCondLst>
                                        </p:cTn>
                                        <p:tgtEl>
                                          <p:spTgt spid="192"/>
                                        </p:tgtEl>
                                        <p:attrNameLst>
                                          <p:attrName>style.visibility</p:attrName>
                                        </p:attrNameLst>
                                      </p:cBhvr>
                                      <p:to>
                                        <p:strVal val="visible"/>
                                      </p:to>
                                    </p:set>
                                    <p:animEffect transition="in" filter="fade">
                                      <p:cBhvr>
                                        <p:cTn id="64" dur="500"/>
                                        <p:tgtEl>
                                          <p:spTgt spid="192"/>
                                        </p:tgtEl>
                                      </p:cBhvr>
                                    </p:animEffect>
                                  </p:childTnLst>
                                </p:cTn>
                              </p:par>
                            </p:childTnLst>
                          </p:cTn>
                        </p:par>
                        <p:par>
                          <p:cTn id="65" fill="hold">
                            <p:stCondLst>
                              <p:cond delay="1500"/>
                            </p:stCondLst>
                            <p:childTnLst>
                              <p:par>
                                <p:cTn id="66" presetID="10" presetClass="entr" presetSubtype="0" fill="hold" nodeType="afterEffect">
                                  <p:stCondLst>
                                    <p:cond delay="0"/>
                                  </p:stCondLst>
                                  <p:childTnLst>
                                    <p:set>
                                      <p:cBhvr>
                                        <p:cTn id="67" dur="1" fill="hold">
                                          <p:stCondLst>
                                            <p:cond delay="0"/>
                                          </p:stCondLst>
                                        </p:cTn>
                                        <p:tgtEl>
                                          <p:spTgt spid="227"/>
                                        </p:tgtEl>
                                        <p:attrNameLst>
                                          <p:attrName>style.visibility</p:attrName>
                                        </p:attrNameLst>
                                      </p:cBhvr>
                                      <p:to>
                                        <p:strVal val="visible"/>
                                      </p:to>
                                    </p:set>
                                    <p:animEffect transition="in" filter="fade">
                                      <p:cBhvr>
                                        <p:cTn id="68" dur="500"/>
                                        <p:tgtEl>
                                          <p:spTgt spid="227"/>
                                        </p:tgtEl>
                                      </p:cBhvr>
                                    </p:animEffect>
                                  </p:childTnLst>
                                </p:cTn>
                              </p:par>
                              <p:par>
                                <p:cTn id="69" presetID="10" presetClass="entr" presetSubtype="0" fill="hold" nodeType="withEffect">
                                  <p:stCondLst>
                                    <p:cond delay="0"/>
                                  </p:stCondLst>
                                  <p:childTnLst>
                                    <p:set>
                                      <p:cBhvr>
                                        <p:cTn id="70" dur="1" fill="hold">
                                          <p:stCondLst>
                                            <p:cond delay="0"/>
                                          </p:stCondLst>
                                        </p:cTn>
                                        <p:tgtEl>
                                          <p:spTgt spid="195"/>
                                        </p:tgtEl>
                                        <p:attrNameLst>
                                          <p:attrName>style.visibility</p:attrName>
                                        </p:attrNameLst>
                                      </p:cBhvr>
                                      <p:to>
                                        <p:strVal val="visible"/>
                                      </p:to>
                                    </p:set>
                                    <p:animEffect transition="in" filter="fade">
                                      <p:cBhvr>
                                        <p:cTn id="71" dur="500"/>
                                        <p:tgtEl>
                                          <p:spTgt spid="195"/>
                                        </p:tgtEl>
                                      </p:cBhvr>
                                    </p:animEffect>
                                  </p:childTnLst>
                                </p:cTn>
                              </p:par>
                            </p:childTnLst>
                          </p:cTn>
                        </p:par>
                        <p:par>
                          <p:cTn id="72" fill="hold">
                            <p:stCondLst>
                              <p:cond delay="2000"/>
                            </p:stCondLst>
                            <p:childTnLst>
                              <p:par>
                                <p:cTn id="73" presetID="10" presetClass="entr" presetSubtype="0" fill="hold" nodeType="afterEffect">
                                  <p:stCondLst>
                                    <p:cond delay="0"/>
                                  </p:stCondLst>
                                  <p:childTnLst>
                                    <p:set>
                                      <p:cBhvr>
                                        <p:cTn id="74" dur="1" fill="hold">
                                          <p:stCondLst>
                                            <p:cond delay="0"/>
                                          </p:stCondLst>
                                        </p:cTn>
                                        <p:tgtEl>
                                          <p:spTgt spid="230"/>
                                        </p:tgtEl>
                                        <p:attrNameLst>
                                          <p:attrName>style.visibility</p:attrName>
                                        </p:attrNameLst>
                                      </p:cBhvr>
                                      <p:to>
                                        <p:strVal val="visible"/>
                                      </p:to>
                                    </p:set>
                                    <p:animEffect transition="in" filter="fade">
                                      <p:cBhvr>
                                        <p:cTn id="75" dur="500"/>
                                        <p:tgtEl>
                                          <p:spTgt spid="230"/>
                                        </p:tgtEl>
                                      </p:cBhvr>
                                    </p:animEffect>
                                  </p:childTnLst>
                                </p:cTn>
                              </p:par>
                              <p:par>
                                <p:cTn id="76" presetID="10" presetClass="entr" presetSubtype="0" fill="hold" nodeType="withEffect">
                                  <p:stCondLst>
                                    <p:cond delay="0"/>
                                  </p:stCondLst>
                                  <p:childTnLst>
                                    <p:set>
                                      <p:cBhvr>
                                        <p:cTn id="77" dur="1" fill="hold">
                                          <p:stCondLst>
                                            <p:cond delay="0"/>
                                          </p:stCondLst>
                                        </p:cTn>
                                        <p:tgtEl>
                                          <p:spTgt spid="198"/>
                                        </p:tgtEl>
                                        <p:attrNameLst>
                                          <p:attrName>style.visibility</p:attrName>
                                        </p:attrNameLst>
                                      </p:cBhvr>
                                      <p:to>
                                        <p:strVal val="visible"/>
                                      </p:to>
                                    </p:set>
                                    <p:animEffect transition="in" filter="fade">
                                      <p:cBhvr>
                                        <p:cTn id="78" dur="500"/>
                                        <p:tgtEl>
                                          <p:spTgt spid="198"/>
                                        </p:tgtEl>
                                      </p:cBhvr>
                                    </p:animEffect>
                                  </p:childTnLst>
                                </p:cTn>
                              </p:par>
                            </p:childTnLst>
                          </p:cTn>
                        </p:par>
                        <p:par>
                          <p:cTn id="79" fill="hold">
                            <p:stCondLst>
                              <p:cond delay="2500"/>
                            </p:stCondLst>
                            <p:childTnLst>
                              <p:par>
                                <p:cTn id="80" presetID="10" presetClass="entr" presetSubtype="0" fill="hold" nodeType="afterEffect">
                                  <p:stCondLst>
                                    <p:cond delay="0"/>
                                  </p:stCondLst>
                                  <p:childTnLst>
                                    <p:set>
                                      <p:cBhvr>
                                        <p:cTn id="81" dur="1" fill="hold">
                                          <p:stCondLst>
                                            <p:cond delay="0"/>
                                          </p:stCondLst>
                                        </p:cTn>
                                        <p:tgtEl>
                                          <p:spTgt spid="233"/>
                                        </p:tgtEl>
                                        <p:attrNameLst>
                                          <p:attrName>style.visibility</p:attrName>
                                        </p:attrNameLst>
                                      </p:cBhvr>
                                      <p:to>
                                        <p:strVal val="visible"/>
                                      </p:to>
                                    </p:set>
                                    <p:animEffect transition="in" filter="fade">
                                      <p:cBhvr>
                                        <p:cTn id="82" dur="500"/>
                                        <p:tgtEl>
                                          <p:spTgt spid="233"/>
                                        </p:tgtEl>
                                      </p:cBhvr>
                                    </p:animEffect>
                                  </p:childTnLst>
                                </p:cTn>
                              </p:par>
                            </p:childTnLst>
                          </p:cTn>
                        </p:par>
                        <p:par>
                          <p:cTn id="83" fill="hold">
                            <p:stCondLst>
                              <p:cond delay="3000"/>
                            </p:stCondLst>
                            <p:childTnLst>
                              <p:par>
                                <p:cTn id="84" presetID="10" presetClass="entr" presetSubtype="0" fill="hold" nodeType="afterEffect">
                                  <p:stCondLst>
                                    <p:cond delay="0"/>
                                  </p:stCondLst>
                                  <p:childTnLst>
                                    <p:set>
                                      <p:cBhvr>
                                        <p:cTn id="85" dur="1" fill="hold">
                                          <p:stCondLst>
                                            <p:cond delay="0"/>
                                          </p:stCondLst>
                                        </p:cTn>
                                        <p:tgtEl>
                                          <p:spTgt spid="162"/>
                                        </p:tgtEl>
                                        <p:attrNameLst>
                                          <p:attrName>style.visibility</p:attrName>
                                        </p:attrNameLst>
                                      </p:cBhvr>
                                      <p:to>
                                        <p:strVal val="visible"/>
                                      </p:to>
                                    </p:set>
                                    <p:animEffect transition="in" filter="fade">
                                      <p:cBhvr>
                                        <p:cTn id="86" dur="500"/>
                                        <p:tgtEl>
                                          <p:spTgt spid="162"/>
                                        </p:tgtEl>
                                      </p:cBhvr>
                                    </p:animEffect>
                                  </p:childTnLst>
                                </p:cTn>
                              </p:par>
                              <p:par>
                                <p:cTn id="87" presetID="10" presetClass="entr" presetSubtype="0" fill="hold" nodeType="withEffect">
                                  <p:stCondLst>
                                    <p:cond delay="0"/>
                                  </p:stCondLst>
                                  <p:childTnLst>
                                    <p:set>
                                      <p:cBhvr>
                                        <p:cTn id="88" dur="1" fill="hold">
                                          <p:stCondLst>
                                            <p:cond delay="0"/>
                                          </p:stCondLst>
                                        </p:cTn>
                                        <p:tgtEl>
                                          <p:spTgt spid="201"/>
                                        </p:tgtEl>
                                        <p:attrNameLst>
                                          <p:attrName>style.visibility</p:attrName>
                                        </p:attrNameLst>
                                      </p:cBhvr>
                                      <p:to>
                                        <p:strVal val="visible"/>
                                      </p:to>
                                    </p:set>
                                    <p:animEffect transition="in" filter="fade">
                                      <p:cBhvr>
                                        <p:cTn id="89" dur="500"/>
                                        <p:tgtEl>
                                          <p:spTgt spid="201"/>
                                        </p:tgtEl>
                                      </p:cBhvr>
                                    </p:animEffect>
                                  </p:childTnLst>
                                </p:cTn>
                              </p:par>
                            </p:childTnLst>
                          </p:cTn>
                        </p:par>
                        <p:par>
                          <p:cTn id="90" fill="hold">
                            <p:stCondLst>
                              <p:cond delay="3500"/>
                            </p:stCondLst>
                            <p:childTnLst>
                              <p:par>
                                <p:cTn id="91" presetID="10" presetClass="entr" presetSubtype="0" fill="hold" nodeType="afterEffect">
                                  <p:stCondLst>
                                    <p:cond delay="0"/>
                                  </p:stCondLst>
                                  <p:childTnLst>
                                    <p:set>
                                      <p:cBhvr>
                                        <p:cTn id="92" dur="1" fill="hold">
                                          <p:stCondLst>
                                            <p:cond delay="0"/>
                                          </p:stCondLst>
                                        </p:cTn>
                                        <p:tgtEl>
                                          <p:spTgt spid="212"/>
                                        </p:tgtEl>
                                        <p:attrNameLst>
                                          <p:attrName>style.visibility</p:attrName>
                                        </p:attrNameLst>
                                      </p:cBhvr>
                                      <p:to>
                                        <p:strVal val="visible"/>
                                      </p:to>
                                    </p:set>
                                    <p:animEffect transition="in" filter="fade">
                                      <p:cBhvr>
                                        <p:cTn id="93" dur="500"/>
                                        <p:tgtEl>
                                          <p:spTgt spid="212"/>
                                        </p:tgtEl>
                                      </p:cBhvr>
                                    </p:animEffect>
                                  </p:childTnLst>
                                </p:cTn>
                              </p:par>
                            </p:childTnLst>
                          </p:cTn>
                        </p:par>
                        <p:par>
                          <p:cTn id="94" fill="hold">
                            <p:stCondLst>
                              <p:cond delay="4000"/>
                            </p:stCondLst>
                            <p:childTnLst>
                              <p:par>
                                <p:cTn id="95" presetID="22" presetClass="entr" presetSubtype="1" fill="hold" nodeType="afterEffect">
                                  <p:stCondLst>
                                    <p:cond delay="0"/>
                                  </p:stCondLst>
                                  <p:childTnLst>
                                    <p:set>
                                      <p:cBhvr>
                                        <p:cTn id="96" dur="1" fill="hold">
                                          <p:stCondLst>
                                            <p:cond delay="0"/>
                                          </p:stCondLst>
                                        </p:cTn>
                                        <p:tgtEl>
                                          <p:spTgt spid="218"/>
                                        </p:tgtEl>
                                        <p:attrNameLst>
                                          <p:attrName>style.visibility</p:attrName>
                                        </p:attrNameLst>
                                      </p:cBhvr>
                                      <p:to>
                                        <p:strVal val="visible"/>
                                      </p:to>
                                    </p:set>
                                    <p:animEffect transition="in" filter="wipe(up)">
                                      <p:cBhvr>
                                        <p:cTn id="97" dur="500"/>
                                        <p:tgtEl>
                                          <p:spTgt spid="218"/>
                                        </p:tgtEl>
                                      </p:cBhvr>
                                    </p:animEffect>
                                  </p:childTnLst>
                                </p:cTn>
                              </p:par>
                              <p:par>
                                <p:cTn id="98" presetID="22" presetClass="entr" presetSubtype="1" fill="hold" nodeType="withEffect">
                                  <p:stCondLst>
                                    <p:cond delay="0"/>
                                  </p:stCondLst>
                                  <p:childTnLst>
                                    <p:set>
                                      <p:cBhvr>
                                        <p:cTn id="99" dur="1" fill="hold">
                                          <p:stCondLst>
                                            <p:cond delay="0"/>
                                          </p:stCondLst>
                                        </p:cTn>
                                        <p:tgtEl>
                                          <p:spTgt spid="221"/>
                                        </p:tgtEl>
                                        <p:attrNameLst>
                                          <p:attrName>style.visibility</p:attrName>
                                        </p:attrNameLst>
                                      </p:cBhvr>
                                      <p:to>
                                        <p:strVal val="visible"/>
                                      </p:to>
                                    </p:set>
                                    <p:animEffect transition="in" filter="wipe(up)">
                                      <p:cBhvr>
                                        <p:cTn id="100" dur="500"/>
                                        <p:tgtEl>
                                          <p:spTgt spid="221"/>
                                        </p:tgtEl>
                                      </p:cBhvr>
                                    </p:animEffect>
                                  </p:childTnLst>
                                </p:cTn>
                              </p:par>
                            </p:childTnLst>
                          </p:cTn>
                        </p:par>
                        <p:par>
                          <p:cTn id="101" fill="hold">
                            <p:stCondLst>
                              <p:cond delay="4500"/>
                            </p:stCondLst>
                            <p:childTnLst>
                              <p:par>
                                <p:cTn id="102" presetID="22" presetClass="entr" presetSubtype="1" fill="hold" nodeType="afterEffect">
                                  <p:stCondLst>
                                    <p:cond delay="0"/>
                                  </p:stCondLst>
                                  <p:childTnLst>
                                    <p:set>
                                      <p:cBhvr>
                                        <p:cTn id="103" dur="1" fill="hold">
                                          <p:stCondLst>
                                            <p:cond delay="0"/>
                                          </p:stCondLst>
                                        </p:cTn>
                                        <p:tgtEl>
                                          <p:spTgt spid="236"/>
                                        </p:tgtEl>
                                        <p:attrNameLst>
                                          <p:attrName>style.visibility</p:attrName>
                                        </p:attrNameLst>
                                      </p:cBhvr>
                                      <p:to>
                                        <p:strVal val="visible"/>
                                      </p:to>
                                    </p:set>
                                    <p:animEffect transition="in" filter="wipe(up)">
                                      <p:cBhvr>
                                        <p:cTn id="104" dur="500"/>
                                        <p:tgtEl>
                                          <p:spTgt spid="236"/>
                                        </p:tgtEl>
                                      </p:cBhvr>
                                    </p:animEffect>
                                  </p:childTnLst>
                                </p:cTn>
                              </p:par>
                              <p:par>
                                <p:cTn id="105" presetID="22" presetClass="entr" presetSubtype="1" fill="hold" nodeType="withEffect">
                                  <p:stCondLst>
                                    <p:cond delay="0"/>
                                  </p:stCondLst>
                                  <p:childTnLst>
                                    <p:set>
                                      <p:cBhvr>
                                        <p:cTn id="106" dur="1" fill="hold">
                                          <p:stCondLst>
                                            <p:cond delay="0"/>
                                          </p:stCondLst>
                                        </p:cTn>
                                        <p:tgtEl>
                                          <p:spTgt spid="237"/>
                                        </p:tgtEl>
                                        <p:attrNameLst>
                                          <p:attrName>style.visibility</p:attrName>
                                        </p:attrNameLst>
                                      </p:cBhvr>
                                      <p:to>
                                        <p:strVal val="visible"/>
                                      </p:to>
                                    </p:set>
                                    <p:animEffect transition="in" filter="wipe(up)">
                                      <p:cBhvr>
                                        <p:cTn id="107" dur="500"/>
                                        <p:tgtEl>
                                          <p:spTgt spid="237"/>
                                        </p:tgtEl>
                                      </p:cBhvr>
                                    </p:animEffect>
                                  </p:childTnLst>
                                </p:cTn>
                              </p:par>
                            </p:childTnLst>
                          </p:cTn>
                        </p:par>
                        <p:par>
                          <p:cTn id="108" fill="hold">
                            <p:stCondLst>
                              <p:cond delay="5000"/>
                            </p:stCondLst>
                            <p:childTnLst>
                              <p:par>
                                <p:cTn id="109" presetID="10" presetClass="entr" presetSubtype="0" fill="hold" nodeType="afterEffect">
                                  <p:stCondLst>
                                    <p:cond delay="0"/>
                                  </p:stCondLst>
                                  <p:childTnLst>
                                    <p:set>
                                      <p:cBhvr>
                                        <p:cTn id="110" dur="1" fill="hold">
                                          <p:stCondLst>
                                            <p:cond delay="0"/>
                                          </p:stCondLst>
                                        </p:cTn>
                                        <p:tgtEl>
                                          <p:spTgt spid="114"/>
                                        </p:tgtEl>
                                        <p:attrNameLst>
                                          <p:attrName>style.visibility</p:attrName>
                                        </p:attrNameLst>
                                      </p:cBhvr>
                                      <p:to>
                                        <p:strVal val="visible"/>
                                      </p:to>
                                    </p:set>
                                    <p:animEffect transition="in" filter="fade">
                                      <p:cBhvr>
                                        <p:cTn id="111" dur="500"/>
                                        <p:tgtEl>
                                          <p:spTgt spid="114"/>
                                        </p:tgtEl>
                                      </p:cBhvr>
                                    </p:animEffect>
                                  </p:childTnLst>
                                </p:cTn>
                              </p:par>
                            </p:childTnLst>
                          </p:cTn>
                        </p:par>
                        <p:par>
                          <p:cTn id="112" fill="hold">
                            <p:stCondLst>
                              <p:cond delay="5500"/>
                            </p:stCondLst>
                            <p:childTnLst>
                              <p:par>
                                <p:cTn id="113" presetID="10" presetClass="entr" presetSubtype="0" fill="hold" nodeType="afterEffect">
                                  <p:stCondLst>
                                    <p:cond delay="0"/>
                                  </p:stCondLst>
                                  <p:childTnLst>
                                    <p:set>
                                      <p:cBhvr>
                                        <p:cTn id="114" dur="1" fill="hold">
                                          <p:stCondLst>
                                            <p:cond delay="0"/>
                                          </p:stCondLst>
                                        </p:cTn>
                                        <p:tgtEl>
                                          <p:spTgt spid="238"/>
                                        </p:tgtEl>
                                        <p:attrNameLst>
                                          <p:attrName>style.visibility</p:attrName>
                                        </p:attrNameLst>
                                      </p:cBhvr>
                                      <p:to>
                                        <p:strVal val="visible"/>
                                      </p:to>
                                    </p:set>
                                    <p:animEffect transition="in" filter="fade">
                                      <p:cBhvr>
                                        <p:cTn id="115" dur="500"/>
                                        <p:tgtEl>
                                          <p:spTgt spid="238"/>
                                        </p:tgtEl>
                                      </p:cBhvr>
                                    </p:animEffect>
                                  </p:childTnLst>
                                </p:cTn>
                              </p:par>
                            </p:childTnLst>
                          </p:cTn>
                        </p:par>
                        <p:par>
                          <p:cTn id="116" fill="hold">
                            <p:stCondLst>
                              <p:cond delay="6000"/>
                            </p:stCondLst>
                            <p:childTnLst>
                              <p:par>
                                <p:cTn id="117" presetID="10" presetClass="entr" presetSubtype="0" fill="hold" nodeType="afterEffect">
                                  <p:stCondLst>
                                    <p:cond delay="0"/>
                                  </p:stCondLst>
                                  <p:childTnLst>
                                    <p:set>
                                      <p:cBhvr>
                                        <p:cTn id="118" dur="1" fill="hold">
                                          <p:stCondLst>
                                            <p:cond delay="0"/>
                                          </p:stCondLst>
                                        </p:cTn>
                                        <p:tgtEl>
                                          <p:spTgt spid="241"/>
                                        </p:tgtEl>
                                        <p:attrNameLst>
                                          <p:attrName>style.visibility</p:attrName>
                                        </p:attrNameLst>
                                      </p:cBhvr>
                                      <p:to>
                                        <p:strVal val="visible"/>
                                      </p:to>
                                    </p:set>
                                    <p:animEffect transition="in" filter="fade">
                                      <p:cBhvr>
                                        <p:cTn id="119" dur="500"/>
                                        <p:tgtEl>
                                          <p:spTgt spid="241"/>
                                        </p:tgtEl>
                                      </p:cBhvr>
                                    </p:animEffect>
                                  </p:childTnLst>
                                </p:cTn>
                              </p:par>
                            </p:childTnLst>
                          </p:cTn>
                        </p:par>
                        <p:par>
                          <p:cTn id="120" fill="hold">
                            <p:stCondLst>
                              <p:cond delay="6500"/>
                            </p:stCondLst>
                            <p:childTnLst>
                              <p:par>
                                <p:cTn id="121" presetID="10" presetClass="entr" presetSubtype="0" fill="hold" nodeType="afterEffect">
                                  <p:stCondLst>
                                    <p:cond delay="0"/>
                                  </p:stCondLst>
                                  <p:childTnLst>
                                    <p:set>
                                      <p:cBhvr>
                                        <p:cTn id="122" dur="1" fill="hold">
                                          <p:stCondLst>
                                            <p:cond delay="0"/>
                                          </p:stCondLst>
                                        </p:cTn>
                                        <p:tgtEl>
                                          <p:spTgt spid="131"/>
                                        </p:tgtEl>
                                        <p:attrNameLst>
                                          <p:attrName>style.visibility</p:attrName>
                                        </p:attrNameLst>
                                      </p:cBhvr>
                                      <p:to>
                                        <p:strVal val="visible"/>
                                      </p:to>
                                    </p:set>
                                    <p:animEffect transition="in" filter="fade">
                                      <p:cBhvr>
                                        <p:cTn id="123" dur="500"/>
                                        <p:tgtEl>
                                          <p:spTgt spid="131"/>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nodeType="clickEffect">
                                  <p:stCondLst>
                                    <p:cond delay="0"/>
                                  </p:stCondLst>
                                  <p:childTnLst>
                                    <p:set>
                                      <p:cBhvr>
                                        <p:cTn id="127" dur="1" fill="hold">
                                          <p:stCondLst>
                                            <p:cond delay="0"/>
                                          </p:stCondLst>
                                        </p:cTn>
                                        <p:tgtEl>
                                          <p:spTgt spid="246"/>
                                        </p:tgtEl>
                                        <p:attrNameLst>
                                          <p:attrName>style.visibility</p:attrName>
                                        </p:attrNameLst>
                                      </p:cBhvr>
                                      <p:to>
                                        <p:strVal val="visible"/>
                                      </p:to>
                                    </p:set>
                                    <p:animEffect transition="in" filter="fade">
                                      <p:cBhvr>
                                        <p:cTn id="128" dur="500"/>
                                        <p:tgtEl>
                                          <p:spTgt spid="246"/>
                                        </p:tgtEl>
                                      </p:cBhvr>
                                    </p:animEffect>
                                  </p:childTnLst>
                                </p:cTn>
                              </p:par>
                            </p:childTnLst>
                          </p:cTn>
                        </p:par>
                        <p:par>
                          <p:cTn id="129" fill="hold">
                            <p:stCondLst>
                              <p:cond delay="500"/>
                            </p:stCondLst>
                            <p:childTnLst>
                              <p:par>
                                <p:cTn id="130" presetID="22" presetClass="entr" presetSubtype="2" fill="hold" nodeType="afterEffect">
                                  <p:stCondLst>
                                    <p:cond delay="0"/>
                                  </p:stCondLst>
                                  <p:childTnLst>
                                    <p:set>
                                      <p:cBhvr>
                                        <p:cTn id="131" dur="1" fill="hold">
                                          <p:stCondLst>
                                            <p:cond delay="0"/>
                                          </p:stCondLst>
                                        </p:cTn>
                                        <p:tgtEl>
                                          <p:spTgt spid="244"/>
                                        </p:tgtEl>
                                        <p:attrNameLst>
                                          <p:attrName>style.visibility</p:attrName>
                                        </p:attrNameLst>
                                      </p:cBhvr>
                                      <p:to>
                                        <p:strVal val="visible"/>
                                      </p:to>
                                    </p:set>
                                    <p:animEffect transition="in" filter="wipe(right)">
                                      <p:cBhvr>
                                        <p:cTn id="132" dur="500"/>
                                        <p:tgtEl>
                                          <p:spTgt spid="244"/>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121"/>
                                        </p:tgtEl>
                                        <p:attrNameLst>
                                          <p:attrName>style.visibility</p:attrName>
                                        </p:attrNameLst>
                                      </p:cBhvr>
                                      <p:to>
                                        <p:strVal val="visible"/>
                                      </p:to>
                                    </p:set>
                                    <p:animEffect transition="in" filter="fade">
                                      <p:cBhvr>
                                        <p:cTn id="135"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9" grpId="0"/>
      <p:bldP spid="190" grpId="0" animBg="1"/>
      <p:bldP spid="254" grpId="0" animBg="1"/>
      <p:bldP spid="12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4468799" y="2998530"/>
            <a:ext cx="3143450" cy="1715050"/>
            <a:chOff x="6393746" y="2619239"/>
            <a:chExt cx="3045592" cy="2358925"/>
          </a:xfrm>
        </p:grpSpPr>
        <p:pic>
          <p:nvPicPr>
            <p:cNvPr id="37" name="Picture 36"/>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393746" y="2619239"/>
              <a:ext cx="207405" cy="208662"/>
            </a:xfrm>
            <a:prstGeom prst="rect">
              <a:avLst/>
            </a:prstGeom>
          </p:spPr>
        </p:pic>
        <p:pic>
          <p:nvPicPr>
            <p:cNvPr id="38" name="Picture 37"/>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5400000">
              <a:off x="9231304" y="2619239"/>
              <a:ext cx="207405" cy="208662"/>
            </a:xfrm>
            <a:prstGeom prst="rect">
              <a:avLst/>
            </a:prstGeom>
          </p:spPr>
        </p:pic>
        <p:pic>
          <p:nvPicPr>
            <p:cNvPr id="39" name="Picture 38"/>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0800000">
              <a:off x="9231932" y="4769502"/>
              <a:ext cx="207405" cy="208662"/>
            </a:xfrm>
            <a:prstGeom prst="rect">
              <a:avLst/>
            </a:prstGeom>
          </p:spPr>
        </p:pic>
        <p:pic>
          <p:nvPicPr>
            <p:cNvPr id="40" name="Picture 39"/>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6394374" y="4769502"/>
              <a:ext cx="207405" cy="208662"/>
            </a:xfrm>
            <a:prstGeom prst="rect">
              <a:avLst/>
            </a:prstGeom>
          </p:spPr>
        </p:pic>
      </p:grpSp>
      <p:grpSp>
        <p:nvGrpSpPr>
          <p:cNvPr id="41" name="Group 40"/>
          <p:cNvGrpSpPr/>
          <p:nvPr/>
        </p:nvGrpSpPr>
        <p:grpSpPr>
          <a:xfrm>
            <a:off x="2711044" y="3682651"/>
            <a:ext cx="1521238" cy="694815"/>
            <a:chOff x="2695385" y="3795395"/>
            <a:chExt cx="1491545" cy="681253"/>
          </a:xfrm>
        </p:grpSpPr>
        <p:grpSp>
          <p:nvGrpSpPr>
            <p:cNvPr id="42" name="Group 41"/>
            <p:cNvGrpSpPr/>
            <p:nvPr/>
          </p:nvGrpSpPr>
          <p:grpSpPr>
            <a:xfrm>
              <a:off x="2695385" y="3795395"/>
              <a:ext cx="1491545" cy="681253"/>
              <a:chOff x="2695385" y="3795395"/>
              <a:chExt cx="1491545" cy="681253"/>
            </a:xfrm>
          </p:grpSpPr>
          <p:pic>
            <p:nvPicPr>
              <p:cNvPr id="44" name="Picture 43"/>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695385" y="4082126"/>
                <a:ext cx="1491545" cy="109620"/>
              </a:xfrm>
              <a:prstGeom prst="rect">
                <a:avLst/>
              </a:prstGeom>
            </p:spPr>
          </p:pic>
          <p:pic>
            <p:nvPicPr>
              <p:cNvPr id="45" name="Picture 44"/>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3132415" y="3795395"/>
                <a:ext cx="681253" cy="681253"/>
              </a:xfrm>
              <a:prstGeom prst="rect">
                <a:avLst/>
              </a:prstGeom>
            </p:spPr>
          </p:pic>
        </p:grpSp>
        <p:sp>
          <p:nvSpPr>
            <p:cNvPr id="43" name="TextBox 42"/>
            <p:cNvSpPr txBox="1"/>
            <p:nvPr/>
          </p:nvSpPr>
          <p:spPr>
            <a:xfrm>
              <a:off x="3242507" y="4365057"/>
              <a:ext cx="529667" cy="97007"/>
            </a:xfrm>
            <a:prstGeom prst="rect">
              <a:avLst/>
            </a:prstGeom>
            <a:noFill/>
          </p:spPr>
          <p:txBody>
            <a:bodyPr wrap="none" lIns="0" tIns="0" rIns="0" bIns="0" rtlCol="0">
              <a:spAutoFit/>
            </a:bodyPr>
            <a:lstStyle/>
            <a:p>
              <a:pPr algn="r" defTabSz="951156">
                <a:lnSpc>
                  <a:spcPct val="90000"/>
                </a:lnSpc>
                <a:spcAft>
                  <a:spcPts val="624"/>
                </a:spcAft>
                <a:defRPr/>
              </a:pPr>
              <a:r>
                <a:rPr lang="en-US" sz="714" b="1" kern="0">
                  <a:latin typeface="+mj-lt"/>
                  <a:cs typeface="Segoe UI Semibold" panose="020B0702040204020203" pitchFamily="34" charset="0"/>
                </a:rPr>
                <a:t>Load Balancer </a:t>
              </a:r>
              <a:endParaRPr lang="en-US" sz="816" b="1" kern="0">
                <a:latin typeface="+mj-lt"/>
                <a:cs typeface="Segoe UI Semibold" panose="020B0702040204020203" pitchFamily="34" charset="0"/>
              </a:endParaRPr>
            </a:p>
          </p:txBody>
        </p:sp>
      </p:grpSp>
      <p:grpSp>
        <p:nvGrpSpPr>
          <p:cNvPr id="58" name="Group 57"/>
          <p:cNvGrpSpPr/>
          <p:nvPr/>
        </p:nvGrpSpPr>
        <p:grpSpPr>
          <a:xfrm>
            <a:off x="545436" y="3338538"/>
            <a:ext cx="2147061" cy="1841457"/>
            <a:chOff x="572047" y="3457998"/>
            <a:chExt cx="2105153" cy="1805514"/>
          </a:xfrm>
          <a:solidFill>
            <a:srgbClr val="FFC000"/>
          </a:solidFill>
        </p:grpSpPr>
        <p:pic>
          <p:nvPicPr>
            <p:cNvPr id="59" name="Picture 58"/>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72047" y="3457998"/>
              <a:ext cx="2105153" cy="1357876"/>
            </a:xfrm>
            <a:prstGeom prst="rect">
              <a:avLst/>
            </a:prstGeom>
            <a:noFill/>
          </p:spPr>
        </p:pic>
        <p:sp>
          <p:nvSpPr>
            <p:cNvPr id="60" name="TextBox 59"/>
            <p:cNvSpPr txBox="1"/>
            <p:nvPr/>
          </p:nvSpPr>
          <p:spPr>
            <a:xfrm>
              <a:off x="1050758" y="4799207"/>
              <a:ext cx="1071383" cy="464305"/>
            </a:xfrm>
            <a:prstGeom prst="rect">
              <a:avLst/>
            </a:prstGeom>
            <a:noFill/>
          </p:spPr>
          <p:txBody>
            <a:bodyPr wrap="none" lIns="190234" tIns="152188" rIns="190234" bIns="152188" rtlCol="0">
              <a:spAutoFit/>
            </a:bodyPr>
            <a:lstStyle/>
            <a:p>
              <a:pPr defTabSz="951156">
                <a:lnSpc>
                  <a:spcPct val="90000"/>
                </a:lnSpc>
                <a:spcAft>
                  <a:spcPts val="624"/>
                </a:spcAft>
                <a:defRPr/>
              </a:pPr>
              <a:r>
                <a:rPr lang="en-US" sz="1200" b="1" kern="0">
                  <a:solidFill>
                    <a:schemeClr val="bg2">
                      <a:lumMod val="10000"/>
                    </a:schemeClr>
                  </a:solidFill>
                  <a:latin typeface="Segoe UI Semibold" panose="020B0702040204020203" pitchFamily="34" charset="0"/>
                  <a:cs typeface="Segoe UI Semibold" panose="020B0702040204020203" pitchFamily="34" charset="0"/>
                </a:rPr>
                <a:t>Consumer</a:t>
              </a:r>
            </a:p>
          </p:txBody>
        </p:sp>
      </p:grpSp>
      <p:sp>
        <p:nvSpPr>
          <p:cNvPr id="61" name="TextBox 60"/>
          <p:cNvSpPr txBox="1"/>
          <p:nvPr/>
        </p:nvSpPr>
        <p:spPr>
          <a:xfrm>
            <a:off x="-956214" y="-637476"/>
            <a:ext cx="188409" cy="414353"/>
          </a:xfrm>
          <a:prstGeom prst="rect">
            <a:avLst/>
          </a:prstGeom>
          <a:noFill/>
        </p:spPr>
        <p:txBody>
          <a:bodyPr wrap="none" rtlCol="0">
            <a:spAutoFit/>
          </a:bodyPr>
          <a:lstStyle/>
          <a:p>
            <a:endParaRPr lang="en-US" sz="2040" b="1">
              <a:latin typeface="+mj-lt"/>
            </a:endParaRPr>
          </a:p>
        </p:txBody>
      </p:sp>
      <p:sp>
        <p:nvSpPr>
          <p:cNvPr id="62" name="Title 1"/>
          <p:cNvSpPr>
            <a:spLocks noGrp="1"/>
          </p:cNvSpPr>
          <p:nvPr>
            <p:ph type="title"/>
          </p:nvPr>
        </p:nvSpPr>
        <p:spPr>
          <a:xfrm>
            <a:off x="140061" y="236860"/>
            <a:ext cx="11507442" cy="989769"/>
          </a:xfrm>
        </p:spPr>
        <p:txBody>
          <a:bodyPr/>
          <a:lstStyle/>
          <a:p>
            <a:r>
              <a:rPr lang="en-US">
                <a:solidFill>
                  <a:schemeClr val="accent3"/>
                </a:solidFill>
              </a:rPr>
              <a:t>CI/CD Pipeline | Azure DevOps and AKS</a:t>
            </a:r>
            <a:endParaRPr lang="en-US"/>
          </a:p>
        </p:txBody>
      </p:sp>
      <p:grpSp>
        <p:nvGrpSpPr>
          <p:cNvPr id="90" name="Group 89"/>
          <p:cNvGrpSpPr/>
          <p:nvPr/>
        </p:nvGrpSpPr>
        <p:grpSpPr>
          <a:xfrm>
            <a:off x="9890132" y="4040981"/>
            <a:ext cx="1757371" cy="1822474"/>
            <a:chOff x="9890132" y="4040981"/>
            <a:chExt cx="1757371" cy="1822474"/>
          </a:xfrm>
        </p:grpSpPr>
        <p:sp>
          <p:nvSpPr>
            <p:cNvPr id="14" name="TextBox 13"/>
            <p:cNvSpPr txBox="1"/>
            <p:nvPr/>
          </p:nvSpPr>
          <p:spPr>
            <a:xfrm>
              <a:off x="10297510" y="5389907"/>
              <a:ext cx="1325147" cy="473548"/>
            </a:xfrm>
            <a:prstGeom prst="rect">
              <a:avLst/>
            </a:prstGeom>
            <a:noFill/>
            <a:ln>
              <a:noFill/>
            </a:ln>
          </p:spPr>
          <p:txBody>
            <a:bodyPr wrap="none" lIns="190234" tIns="152188" rIns="190234" bIns="152188" rtlCol="0">
              <a:spAutoFit/>
            </a:bodyPr>
            <a:lstStyle/>
            <a:p>
              <a:pPr algn="ctr" defTabSz="951156">
                <a:lnSpc>
                  <a:spcPct val="90000"/>
                </a:lnSpc>
                <a:spcAft>
                  <a:spcPts val="624"/>
                </a:spcAft>
                <a:defRPr/>
              </a:pPr>
              <a:r>
                <a:rPr lang="en-US" sz="1200" kern="0">
                  <a:latin typeface="Segoe UI Semibold" panose="020B0702040204020203" pitchFamily="34" charset="0"/>
                  <a:cs typeface="Segoe UI Semibold" panose="020B0702040204020203" pitchFamily="34" charset="0"/>
                </a:rPr>
                <a:t>Development</a:t>
              </a:r>
            </a:p>
          </p:txBody>
        </p:sp>
        <p:grpSp>
          <p:nvGrpSpPr>
            <p:cNvPr id="68" name="Group 67"/>
            <p:cNvGrpSpPr/>
            <p:nvPr/>
          </p:nvGrpSpPr>
          <p:grpSpPr>
            <a:xfrm>
              <a:off x="9890132" y="4040981"/>
              <a:ext cx="1757371" cy="1320282"/>
              <a:chOff x="252964" y="4876684"/>
              <a:chExt cx="2161474" cy="1404056"/>
            </a:xfrm>
          </p:grpSpPr>
          <p:grpSp>
            <p:nvGrpSpPr>
              <p:cNvPr id="70" name="Group 69"/>
              <p:cNvGrpSpPr/>
              <p:nvPr/>
            </p:nvGrpSpPr>
            <p:grpSpPr>
              <a:xfrm>
                <a:off x="1756065" y="5902498"/>
                <a:ext cx="658373" cy="378242"/>
                <a:chOff x="2195243" y="5902498"/>
                <a:chExt cx="658373" cy="378242"/>
              </a:xfrm>
            </p:grpSpPr>
            <p:sp>
              <p:nvSpPr>
                <p:cNvPr id="81" name="Rectangle 30"/>
                <p:cNvSpPr>
                  <a:spLocks noChangeArrowheads="1"/>
                </p:cNvSpPr>
                <p:nvPr/>
              </p:nvSpPr>
              <p:spPr bwMode="auto">
                <a:xfrm>
                  <a:off x="2273989" y="5902498"/>
                  <a:ext cx="509916"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82" name="Oval 31"/>
                <p:cNvSpPr>
                  <a:spLocks noChangeArrowheads="1"/>
                </p:cNvSpPr>
                <p:nvPr/>
              </p:nvSpPr>
              <p:spPr bwMode="auto">
                <a:xfrm>
                  <a:off x="2524429"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83" name="Rectangle 32"/>
                <p:cNvSpPr>
                  <a:spLocks noChangeArrowheads="1"/>
                </p:cNvSpPr>
                <p:nvPr/>
              </p:nvSpPr>
              <p:spPr bwMode="auto">
                <a:xfrm>
                  <a:off x="2292062" y="5929607"/>
                  <a:ext cx="475061"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84" name="Freeform 33"/>
                <p:cNvSpPr>
                  <a:spLocks/>
                </p:cNvSpPr>
                <p:nvPr/>
              </p:nvSpPr>
              <p:spPr bwMode="auto">
                <a:xfrm>
                  <a:off x="2195243" y="6254921"/>
                  <a:ext cx="658373" cy="25819"/>
                </a:xfrm>
                <a:custGeom>
                  <a:avLst/>
                  <a:gdLst>
                    <a:gd name="T0" fmla="*/ 0 w 449"/>
                    <a:gd name="T1" fmla="*/ 0 h 18"/>
                    <a:gd name="T2" fmla="*/ 0 w 449"/>
                    <a:gd name="T3" fmla="*/ 1 h 18"/>
                    <a:gd name="T4" fmla="*/ 17 w 449"/>
                    <a:gd name="T5" fmla="*/ 18 h 18"/>
                    <a:gd name="T6" fmla="*/ 433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8" y="18"/>
                        <a:pt x="17" y="18"/>
                      </a:cubicBezTo>
                      <a:cubicBezTo>
                        <a:pt x="433" y="18"/>
                        <a:pt x="433" y="18"/>
                        <a:pt x="433" y="18"/>
                      </a:cubicBezTo>
                      <a:cubicBezTo>
                        <a:pt x="442"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85" name="Freeform 38"/>
                <p:cNvSpPr>
                  <a:spLocks/>
                </p:cNvSpPr>
                <p:nvPr/>
              </p:nvSpPr>
              <p:spPr bwMode="auto">
                <a:xfrm>
                  <a:off x="2440519" y="6016100"/>
                  <a:ext cx="171693" cy="153621"/>
                </a:xfrm>
                <a:custGeom>
                  <a:avLst/>
                  <a:gdLst>
                    <a:gd name="T0" fmla="*/ 99 w 117"/>
                    <a:gd name="T1" fmla="*/ 40 h 105"/>
                    <a:gd name="T2" fmla="*/ 114 w 117"/>
                    <a:gd name="T3" fmla="*/ 14 h 105"/>
                    <a:gd name="T4" fmla="*/ 89 w 117"/>
                    <a:gd name="T5" fmla="*/ 1 h 105"/>
                    <a:gd name="T6" fmla="*/ 63 w 117"/>
                    <a:gd name="T7" fmla="*/ 7 h 105"/>
                    <a:gd name="T8" fmla="*/ 40 w 117"/>
                    <a:gd name="T9" fmla="*/ 1 h 105"/>
                    <a:gd name="T10" fmla="*/ 12 w 117"/>
                    <a:gd name="T11" fmla="*/ 18 h 105"/>
                    <a:gd name="T12" fmla="*/ 20 w 117"/>
                    <a:gd name="T13" fmla="*/ 87 h 105"/>
                    <a:gd name="T14" fmla="*/ 42 w 117"/>
                    <a:gd name="T15" fmla="*/ 105 h 105"/>
                    <a:gd name="T16" fmla="*/ 64 w 117"/>
                    <a:gd name="T17" fmla="*/ 99 h 105"/>
                    <a:gd name="T18" fmla="*/ 87 w 117"/>
                    <a:gd name="T19" fmla="*/ 104 h 105"/>
                    <a:gd name="T20" fmla="*/ 108 w 117"/>
                    <a:gd name="T21" fmla="*/ 88 h 105"/>
                    <a:gd name="T22" fmla="*/ 117 w 117"/>
                    <a:gd name="T23" fmla="*/ 68 h 105"/>
                    <a:gd name="T24" fmla="*/ 99 w 117"/>
                    <a:gd name="T25" fmla="*/ 4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05">
                      <a:moveTo>
                        <a:pt x="99" y="40"/>
                      </a:moveTo>
                      <a:cubicBezTo>
                        <a:pt x="99" y="23"/>
                        <a:pt x="113" y="15"/>
                        <a:pt x="114" y="14"/>
                      </a:cubicBezTo>
                      <a:cubicBezTo>
                        <a:pt x="106" y="3"/>
                        <a:pt x="93" y="1"/>
                        <a:pt x="89" y="1"/>
                      </a:cubicBezTo>
                      <a:cubicBezTo>
                        <a:pt x="78" y="0"/>
                        <a:pt x="68" y="7"/>
                        <a:pt x="63" y="7"/>
                      </a:cubicBezTo>
                      <a:cubicBezTo>
                        <a:pt x="57" y="7"/>
                        <a:pt x="49" y="1"/>
                        <a:pt x="40" y="1"/>
                      </a:cubicBezTo>
                      <a:cubicBezTo>
                        <a:pt x="28" y="1"/>
                        <a:pt x="18" y="8"/>
                        <a:pt x="12" y="18"/>
                      </a:cubicBezTo>
                      <a:cubicBezTo>
                        <a:pt x="0" y="39"/>
                        <a:pt x="9" y="70"/>
                        <a:pt x="20" y="87"/>
                      </a:cubicBezTo>
                      <a:cubicBezTo>
                        <a:pt x="26" y="96"/>
                        <a:pt x="33" y="105"/>
                        <a:pt x="42" y="105"/>
                      </a:cubicBezTo>
                      <a:cubicBezTo>
                        <a:pt x="51" y="104"/>
                        <a:pt x="54" y="99"/>
                        <a:pt x="64" y="99"/>
                      </a:cubicBezTo>
                      <a:cubicBezTo>
                        <a:pt x="75" y="99"/>
                        <a:pt x="78" y="105"/>
                        <a:pt x="87" y="104"/>
                      </a:cubicBezTo>
                      <a:cubicBezTo>
                        <a:pt x="96" y="104"/>
                        <a:pt x="102" y="96"/>
                        <a:pt x="108" y="88"/>
                      </a:cubicBezTo>
                      <a:cubicBezTo>
                        <a:pt x="115" y="78"/>
                        <a:pt x="117" y="69"/>
                        <a:pt x="117" y="68"/>
                      </a:cubicBezTo>
                      <a:cubicBezTo>
                        <a:pt x="117" y="68"/>
                        <a:pt x="99" y="61"/>
                        <a:pt x="99"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86" name="Freeform 39"/>
                <p:cNvSpPr>
                  <a:spLocks/>
                </p:cNvSpPr>
                <p:nvPr/>
              </p:nvSpPr>
              <p:spPr bwMode="auto">
                <a:xfrm>
                  <a:off x="2530884" y="5968335"/>
                  <a:ext cx="42600" cy="47765"/>
                </a:xfrm>
                <a:custGeom>
                  <a:avLst/>
                  <a:gdLst>
                    <a:gd name="T0" fmla="*/ 21 w 29"/>
                    <a:gd name="T1" fmla="*/ 22 h 32"/>
                    <a:gd name="T2" fmla="*/ 28 w 29"/>
                    <a:gd name="T3" fmla="*/ 0 h 32"/>
                    <a:gd name="T4" fmla="*/ 8 w 29"/>
                    <a:gd name="T5" fmla="*/ 10 h 32"/>
                    <a:gd name="T6" fmla="*/ 1 w 29"/>
                    <a:gd name="T7" fmla="*/ 31 h 32"/>
                    <a:gd name="T8" fmla="*/ 21 w 29"/>
                    <a:gd name="T9" fmla="*/ 22 h 32"/>
                  </a:gdLst>
                  <a:ahLst/>
                  <a:cxnLst>
                    <a:cxn ang="0">
                      <a:pos x="T0" y="T1"/>
                    </a:cxn>
                    <a:cxn ang="0">
                      <a:pos x="T2" y="T3"/>
                    </a:cxn>
                    <a:cxn ang="0">
                      <a:pos x="T4" y="T5"/>
                    </a:cxn>
                    <a:cxn ang="0">
                      <a:pos x="T6" y="T7"/>
                    </a:cxn>
                    <a:cxn ang="0">
                      <a:pos x="T8" y="T9"/>
                    </a:cxn>
                  </a:cxnLst>
                  <a:rect l="0" t="0" r="r" b="b"/>
                  <a:pathLst>
                    <a:path w="29" h="32">
                      <a:moveTo>
                        <a:pt x="21" y="22"/>
                      </a:moveTo>
                      <a:cubicBezTo>
                        <a:pt x="26" y="16"/>
                        <a:pt x="29" y="8"/>
                        <a:pt x="28" y="0"/>
                      </a:cubicBezTo>
                      <a:cubicBezTo>
                        <a:pt x="21" y="0"/>
                        <a:pt x="13" y="4"/>
                        <a:pt x="8" y="10"/>
                      </a:cubicBezTo>
                      <a:cubicBezTo>
                        <a:pt x="3" y="15"/>
                        <a:pt x="0" y="23"/>
                        <a:pt x="1" y="31"/>
                      </a:cubicBezTo>
                      <a:cubicBezTo>
                        <a:pt x="8" y="32"/>
                        <a:pt x="16" y="27"/>
                        <a:pt x="21"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grpSp>
          <p:grpSp>
            <p:nvGrpSpPr>
              <p:cNvPr id="71" name="Group 70"/>
              <p:cNvGrpSpPr/>
              <p:nvPr/>
            </p:nvGrpSpPr>
            <p:grpSpPr>
              <a:xfrm>
                <a:off x="606413" y="5902498"/>
                <a:ext cx="658373" cy="378242"/>
                <a:chOff x="1392286" y="5902498"/>
                <a:chExt cx="658373" cy="378242"/>
              </a:xfrm>
            </p:grpSpPr>
            <p:sp>
              <p:nvSpPr>
                <p:cNvPr id="73" name="Rectangle 34"/>
                <p:cNvSpPr>
                  <a:spLocks noChangeArrowheads="1"/>
                </p:cNvSpPr>
                <p:nvPr/>
              </p:nvSpPr>
              <p:spPr bwMode="auto">
                <a:xfrm>
                  <a:off x="1469742" y="5902498"/>
                  <a:ext cx="511207" cy="345968"/>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74" name="Oval 35"/>
                <p:cNvSpPr>
                  <a:spLocks noChangeArrowheads="1"/>
                </p:cNvSpPr>
                <p:nvPr/>
              </p:nvSpPr>
              <p:spPr bwMode="auto">
                <a:xfrm>
                  <a:off x="1721472" y="5910244"/>
                  <a:ext cx="9036" cy="9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75" name="Rectangle 36"/>
                <p:cNvSpPr>
                  <a:spLocks noChangeArrowheads="1"/>
                </p:cNvSpPr>
                <p:nvPr/>
              </p:nvSpPr>
              <p:spPr bwMode="auto">
                <a:xfrm>
                  <a:off x="1487815" y="5929607"/>
                  <a:ext cx="476352" cy="304659"/>
                </a:xfrm>
                <a:prstGeom prst="rect">
                  <a:avLst/>
                </a:prstGeom>
                <a:solidFill>
                  <a:srgbClr val="0075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76" name="Freeform 37"/>
                <p:cNvSpPr>
                  <a:spLocks/>
                </p:cNvSpPr>
                <p:nvPr/>
              </p:nvSpPr>
              <p:spPr bwMode="auto">
                <a:xfrm>
                  <a:off x="1392286" y="6254921"/>
                  <a:ext cx="658373" cy="25819"/>
                </a:xfrm>
                <a:custGeom>
                  <a:avLst/>
                  <a:gdLst>
                    <a:gd name="T0" fmla="*/ 0 w 449"/>
                    <a:gd name="T1" fmla="*/ 0 h 18"/>
                    <a:gd name="T2" fmla="*/ 0 w 449"/>
                    <a:gd name="T3" fmla="*/ 1 h 18"/>
                    <a:gd name="T4" fmla="*/ 16 w 449"/>
                    <a:gd name="T5" fmla="*/ 18 h 18"/>
                    <a:gd name="T6" fmla="*/ 432 w 449"/>
                    <a:gd name="T7" fmla="*/ 18 h 18"/>
                    <a:gd name="T8" fmla="*/ 449 w 449"/>
                    <a:gd name="T9" fmla="*/ 1 h 18"/>
                    <a:gd name="T10" fmla="*/ 449 w 449"/>
                    <a:gd name="T11" fmla="*/ 0 h 18"/>
                    <a:gd name="T12" fmla="*/ 0 w 44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49" h="18">
                      <a:moveTo>
                        <a:pt x="0" y="0"/>
                      </a:moveTo>
                      <a:cubicBezTo>
                        <a:pt x="0" y="1"/>
                        <a:pt x="0" y="1"/>
                        <a:pt x="0" y="1"/>
                      </a:cubicBezTo>
                      <a:cubicBezTo>
                        <a:pt x="0" y="10"/>
                        <a:pt x="7" y="18"/>
                        <a:pt x="16" y="18"/>
                      </a:cubicBezTo>
                      <a:cubicBezTo>
                        <a:pt x="432" y="18"/>
                        <a:pt x="432" y="18"/>
                        <a:pt x="432" y="18"/>
                      </a:cubicBezTo>
                      <a:cubicBezTo>
                        <a:pt x="441" y="18"/>
                        <a:pt x="449" y="10"/>
                        <a:pt x="449" y="1"/>
                      </a:cubicBezTo>
                      <a:cubicBezTo>
                        <a:pt x="449" y="0"/>
                        <a:pt x="449" y="0"/>
                        <a:pt x="449" y="0"/>
                      </a:cubicBezTo>
                      <a:lnTo>
                        <a:pt x="0" y="0"/>
                      </a:lnTo>
                      <a:close/>
                    </a:path>
                  </a:pathLst>
                </a:custGeom>
                <a:solidFill>
                  <a:srgbClr val="7E7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77" name="Freeform 40"/>
                <p:cNvSpPr>
                  <a:spLocks/>
                </p:cNvSpPr>
                <p:nvPr/>
              </p:nvSpPr>
              <p:spPr bwMode="auto">
                <a:xfrm>
                  <a:off x="1711145" y="5988990"/>
                  <a:ext cx="98110" cy="86493"/>
                </a:xfrm>
                <a:custGeom>
                  <a:avLst/>
                  <a:gdLst>
                    <a:gd name="T0" fmla="*/ 0 w 76"/>
                    <a:gd name="T1" fmla="*/ 67 h 67"/>
                    <a:gd name="T2" fmla="*/ 76 w 76"/>
                    <a:gd name="T3" fmla="*/ 67 h 67"/>
                    <a:gd name="T4" fmla="*/ 76 w 76"/>
                    <a:gd name="T5" fmla="*/ 0 h 67"/>
                    <a:gd name="T6" fmla="*/ 0 w 76"/>
                    <a:gd name="T7" fmla="*/ 11 h 67"/>
                    <a:gd name="T8" fmla="*/ 0 w 76"/>
                    <a:gd name="T9" fmla="*/ 67 h 67"/>
                  </a:gdLst>
                  <a:ahLst/>
                  <a:cxnLst>
                    <a:cxn ang="0">
                      <a:pos x="T0" y="T1"/>
                    </a:cxn>
                    <a:cxn ang="0">
                      <a:pos x="T2" y="T3"/>
                    </a:cxn>
                    <a:cxn ang="0">
                      <a:pos x="T4" y="T5"/>
                    </a:cxn>
                    <a:cxn ang="0">
                      <a:pos x="T6" y="T7"/>
                    </a:cxn>
                    <a:cxn ang="0">
                      <a:pos x="T8" y="T9"/>
                    </a:cxn>
                  </a:cxnLst>
                  <a:rect l="0" t="0" r="r" b="b"/>
                  <a:pathLst>
                    <a:path w="76" h="67">
                      <a:moveTo>
                        <a:pt x="0" y="67"/>
                      </a:moveTo>
                      <a:lnTo>
                        <a:pt x="76" y="67"/>
                      </a:lnTo>
                      <a:lnTo>
                        <a:pt x="76" y="0"/>
                      </a:lnTo>
                      <a:lnTo>
                        <a:pt x="0" y="11"/>
                      </a:lnTo>
                      <a:lnTo>
                        <a:pt x="0"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78" name="Freeform 41"/>
                <p:cNvSpPr>
                  <a:spLocks/>
                </p:cNvSpPr>
                <p:nvPr/>
              </p:nvSpPr>
              <p:spPr bwMode="auto">
                <a:xfrm>
                  <a:off x="1633689" y="6003191"/>
                  <a:ext cx="73582" cy="72292"/>
                </a:xfrm>
                <a:custGeom>
                  <a:avLst/>
                  <a:gdLst>
                    <a:gd name="T0" fmla="*/ 57 w 57"/>
                    <a:gd name="T1" fmla="*/ 56 h 56"/>
                    <a:gd name="T2" fmla="*/ 57 w 57"/>
                    <a:gd name="T3" fmla="*/ 0 h 56"/>
                    <a:gd name="T4" fmla="*/ 0 w 57"/>
                    <a:gd name="T5" fmla="*/ 8 h 56"/>
                    <a:gd name="T6" fmla="*/ 0 w 57"/>
                    <a:gd name="T7" fmla="*/ 56 h 56"/>
                    <a:gd name="T8" fmla="*/ 57 w 57"/>
                    <a:gd name="T9" fmla="*/ 56 h 56"/>
                  </a:gdLst>
                  <a:ahLst/>
                  <a:cxnLst>
                    <a:cxn ang="0">
                      <a:pos x="T0" y="T1"/>
                    </a:cxn>
                    <a:cxn ang="0">
                      <a:pos x="T2" y="T3"/>
                    </a:cxn>
                    <a:cxn ang="0">
                      <a:pos x="T4" y="T5"/>
                    </a:cxn>
                    <a:cxn ang="0">
                      <a:pos x="T6" y="T7"/>
                    </a:cxn>
                    <a:cxn ang="0">
                      <a:pos x="T8" y="T9"/>
                    </a:cxn>
                  </a:cxnLst>
                  <a:rect l="0" t="0" r="r" b="b"/>
                  <a:pathLst>
                    <a:path w="57" h="56">
                      <a:moveTo>
                        <a:pt x="57" y="56"/>
                      </a:moveTo>
                      <a:lnTo>
                        <a:pt x="57" y="0"/>
                      </a:lnTo>
                      <a:lnTo>
                        <a:pt x="0" y="8"/>
                      </a:lnTo>
                      <a:lnTo>
                        <a:pt x="0" y="56"/>
                      </a:lnTo>
                      <a:lnTo>
                        <a:pt x="5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79" name="Freeform 42"/>
                <p:cNvSpPr>
                  <a:spLocks/>
                </p:cNvSpPr>
                <p:nvPr/>
              </p:nvSpPr>
              <p:spPr bwMode="auto">
                <a:xfrm>
                  <a:off x="1633689" y="6078064"/>
                  <a:ext cx="73582" cy="73583"/>
                </a:xfrm>
                <a:custGeom>
                  <a:avLst/>
                  <a:gdLst>
                    <a:gd name="T0" fmla="*/ 57 w 57"/>
                    <a:gd name="T1" fmla="*/ 0 h 57"/>
                    <a:gd name="T2" fmla="*/ 0 w 57"/>
                    <a:gd name="T3" fmla="*/ 0 h 57"/>
                    <a:gd name="T4" fmla="*/ 0 w 57"/>
                    <a:gd name="T5" fmla="*/ 49 h 57"/>
                    <a:gd name="T6" fmla="*/ 57 w 57"/>
                    <a:gd name="T7" fmla="*/ 57 h 57"/>
                    <a:gd name="T8" fmla="*/ 57 w 57"/>
                    <a:gd name="T9" fmla="*/ 0 h 57"/>
                  </a:gdLst>
                  <a:ahLst/>
                  <a:cxnLst>
                    <a:cxn ang="0">
                      <a:pos x="T0" y="T1"/>
                    </a:cxn>
                    <a:cxn ang="0">
                      <a:pos x="T2" y="T3"/>
                    </a:cxn>
                    <a:cxn ang="0">
                      <a:pos x="T4" y="T5"/>
                    </a:cxn>
                    <a:cxn ang="0">
                      <a:pos x="T6" y="T7"/>
                    </a:cxn>
                    <a:cxn ang="0">
                      <a:pos x="T8" y="T9"/>
                    </a:cxn>
                  </a:cxnLst>
                  <a:rect l="0" t="0" r="r" b="b"/>
                  <a:pathLst>
                    <a:path w="57" h="57">
                      <a:moveTo>
                        <a:pt x="57" y="0"/>
                      </a:moveTo>
                      <a:lnTo>
                        <a:pt x="0" y="0"/>
                      </a:lnTo>
                      <a:lnTo>
                        <a:pt x="0" y="49"/>
                      </a:lnTo>
                      <a:lnTo>
                        <a:pt x="57" y="57"/>
                      </a:lnTo>
                      <a:lnTo>
                        <a:pt x="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sp>
              <p:nvSpPr>
                <p:cNvPr id="80" name="Freeform 43"/>
                <p:cNvSpPr>
                  <a:spLocks/>
                </p:cNvSpPr>
                <p:nvPr/>
              </p:nvSpPr>
              <p:spPr bwMode="auto">
                <a:xfrm>
                  <a:off x="1711145" y="6078064"/>
                  <a:ext cx="98110" cy="87783"/>
                </a:xfrm>
                <a:custGeom>
                  <a:avLst/>
                  <a:gdLst>
                    <a:gd name="T0" fmla="*/ 0 w 76"/>
                    <a:gd name="T1" fmla="*/ 0 h 68"/>
                    <a:gd name="T2" fmla="*/ 0 w 76"/>
                    <a:gd name="T3" fmla="*/ 57 h 68"/>
                    <a:gd name="T4" fmla="*/ 76 w 76"/>
                    <a:gd name="T5" fmla="*/ 68 h 68"/>
                    <a:gd name="T6" fmla="*/ 76 w 76"/>
                    <a:gd name="T7" fmla="*/ 0 h 68"/>
                    <a:gd name="T8" fmla="*/ 0 w 76"/>
                    <a:gd name="T9" fmla="*/ 0 h 68"/>
                  </a:gdLst>
                  <a:ahLst/>
                  <a:cxnLst>
                    <a:cxn ang="0">
                      <a:pos x="T0" y="T1"/>
                    </a:cxn>
                    <a:cxn ang="0">
                      <a:pos x="T2" y="T3"/>
                    </a:cxn>
                    <a:cxn ang="0">
                      <a:pos x="T4" y="T5"/>
                    </a:cxn>
                    <a:cxn ang="0">
                      <a:pos x="T6" y="T7"/>
                    </a:cxn>
                    <a:cxn ang="0">
                      <a:pos x="T8" y="T9"/>
                    </a:cxn>
                  </a:cxnLst>
                  <a:rect l="0" t="0" r="r" b="b"/>
                  <a:pathLst>
                    <a:path w="76" h="68">
                      <a:moveTo>
                        <a:pt x="0" y="0"/>
                      </a:moveTo>
                      <a:lnTo>
                        <a:pt x="0" y="57"/>
                      </a:lnTo>
                      <a:lnTo>
                        <a:pt x="76" y="68"/>
                      </a:lnTo>
                      <a:lnTo>
                        <a:pt x="7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sysClr val="windowText" lastClr="000000"/>
                    </a:solidFill>
                    <a:effectLst/>
                    <a:uLnTx/>
                    <a:uFillTx/>
                    <a:latin typeface="+mj-lt"/>
                    <a:ea typeface="+mn-ea"/>
                    <a:cs typeface="+mn-cs"/>
                  </a:endParaRPr>
                </a:p>
              </p:txBody>
            </p:sp>
          </p:grpSp>
          <p:sp>
            <p:nvSpPr>
              <p:cNvPr id="72" name="TextBox 71"/>
              <p:cNvSpPr txBox="1"/>
              <p:nvPr/>
            </p:nvSpPr>
            <p:spPr>
              <a:xfrm>
                <a:off x="252964" y="4876684"/>
                <a:ext cx="967141" cy="390626"/>
              </a:xfrm>
              <a:prstGeom prst="rect">
                <a:avLst/>
              </a:prstGeom>
            </p:spPr>
            <p:txBody>
              <a:bodyPr vert="horz" wrap="square" lIns="91390" tIns="91390" rIns="91390" bIns="91390" rtlCol="0" anchor="t">
                <a:noAutofit/>
              </a:bodyPr>
              <a:lstStyle/>
              <a:p>
                <a:pPr marL="233205" marR="0" lvl="0" indent="-233205" algn="ctr" defTabSz="896386" rtl="0" eaLnBrk="1" fontAlgn="auto" latinLnBrk="0" hangingPunct="1">
                  <a:lnSpc>
                    <a:spcPct val="100000"/>
                  </a:lnSpc>
                  <a:spcBef>
                    <a:spcPts val="0"/>
                  </a:spcBef>
                  <a:spcAft>
                    <a:spcPts val="0"/>
                  </a:spcAft>
                  <a:buClrTx/>
                  <a:buSzTx/>
                  <a:buFontTx/>
                  <a:buNone/>
                  <a:tabLst/>
                  <a:defRPr/>
                </a:pPr>
                <a:endParaRPr kumimoji="0" lang="en-US" sz="1200" u="none" strike="noStrike" kern="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grpSp>
      </p:grpSp>
      <p:grpSp>
        <p:nvGrpSpPr>
          <p:cNvPr id="6" name="Group 5"/>
          <p:cNvGrpSpPr/>
          <p:nvPr/>
        </p:nvGrpSpPr>
        <p:grpSpPr>
          <a:xfrm>
            <a:off x="10807871" y="3469143"/>
            <a:ext cx="300503" cy="1402084"/>
            <a:chOff x="10807871" y="3469143"/>
            <a:chExt cx="300503" cy="1402084"/>
          </a:xfrm>
        </p:grpSpPr>
        <p:pic>
          <p:nvPicPr>
            <p:cNvPr id="87" name="Picture 86"/>
            <p:cNvPicPr>
              <a:picLocks noChangeAspect="1"/>
            </p:cNvPicPr>
            <p:nvPr/>
          </p:nvPicPr>
          <p:blipFill>
            <a:blip r:embed="rId7">
              <a:duotone>
                <a:prstClr val="black"/>
                <a:schemeClr val="accent4">
                  <a:tint val="45000"/>
                  <a:satMod val="400000"/>
                </a:schemeClr>
              </a:duotone>
            </a:blip>
            <a:stretch>
              <a:fillRect/>
            </a:stretch>
          </p:blipFill>
          <p:spPr>
            <a:xfrm>
              <a:off x="10807871" y="3956370"/>
              <a:ext cx="300503" cy="313381"/>
            </a:xfrm>
            <a:prstGeom prst="rect">
              <a:avLst/>
            </a:prstGeom>
            <a:noFill/>
          </p:spPr>
        </p:pic>
        <p:pic>
          <p:nvPicPr>
            <p:cNvPr id="88" name="Picture 87"/>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5400000">
              <a:off x="10774362" y="4641858"/>
              <a:ext cx="370241" cy="88497"/>
            </a:xfrm>
            <a:prstGeom prst="rect">
              <a:avLst/>
            </a:prstGeom>
          </p:spPr>
        </p:pic>
        <p:pic>
          <p:nvPicPr>
            <p:cNvPr id="89" name="Picture 88"/>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5400000">
              <a:off x="10763788" y="3610015"/>
              <a:ext cx="370241" cy="88497"/>
            </a:xfrm>
            <a:prstGeom prst="rect">
              <a:avLst/>
            </a:prstGeom>
          </p:spPr>
        </p:pic>
      </p:grpSp>
      <p:grpSp>
        <p:nvGrpSpPr>
          <p:cNvPr id="11" name="Group 10">
            <a:extLst>
              <a:ext uri="{FF2B5EF4-FFF2-40B4-BE49-F238E27FC236}">
                <a16:creationId xmlns:a16="http://schemas.microsoft.com/office/drawing/2014/main" id="{FA3432CE-A897-4E88-B016-E07DF455BA1F}"/>
              </a:ext>
            </a:extLst>
          </p:cNvPr>
          <p:cNvGrpSpPr/>
          <p:nvPr/>
        </p:nvGrpSpPr>
        <p:grpSpPr>
          <a:xfrm>
            <a:off x="9057450" y="2336651"/>
            <a:ext cx="3174131" cy="1613622"/>
            <a:chOff x="9057450" y="2336651"/>
            <a:chExt cx="3174131" cy="1613622"/>
          </a:xfrm>
        </p:grpSpPr>
        <p:grpSp>
          <p:nvGrpSpPr>
            <p:cNvPr id="53" name="Group 52"/>
            <p:cNvGrpSpPr/>
            <p:nvPr/>
          </p:nvGrpSpPr>
          <p:grpSpPr>
            <a:xfrm>
              <a:off x="9057450" y="2373908"/>
              <a:ext cx="3174131" cy="1576365"/>
              <a:chOff x="8586944" y="2018449"/>
              <a:chExt cx="3051429" cy="1515428"/>
            </a:xfrm>
          </p:grpSpPr>
          <p:pic>
            <p:nvPicPr>
              <p:cNvPr id="55" name="Picture 54"/>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586944" y="2507424"/>
                <a:ext cx="800493" cy="1026453"/>
              </a:xfrm>
              <a:prstGeom prst="rect">
                <a:avLst/>
              </a:prstGeom>
            </p:spPr>
          </p:pic>
          <p:sp>
            <p:nvSpPr>
              <p:cNvPr id="56" name="TextBox 55"/>
              <p:cNvSpPr txBox="1"/>
              <p:nvPr/>
            </p:nvSpPr>
            <p:spPr>
              <a:xfrm>
                <a:off x="9387436" y="2449910"/>
                <a:ext cx="2250937" cy="615017"/>
              </a:xfrm>
              <a:prstGeom prst="rect">
                <a:avLst/>
              </a:prstGeom>
              <a:noFill/>
            </p:spPr>
            <p:txBody>
              <a:bodyPr wrap="none" lIns="190234" tIns="152188" rIns="190234" bIns="152188" rtlCol="0">
                <a:spAutoFit/>
              </a:bodyPr>
              <a:lstStyle/>
              <a:p>
                <a:pPr defTabSz="951156">
                  <a:lnSpc>
                    <a:spcPct val="90000"/>
                  </a:lnSpc>
                  <a:spcAft>
                    <a:spcPts val="624"/>
                  </a:spcAft>
                  <a:defRPr/>
                </a:pPr>
                <a:r>
                  <a:rPr lang="en-US" sz="1200" kern="0">
                    <a:latin typeface="Segoe UI Semibold" panose="020B0702040204020203" pitchFamily="34" charset="0"/>
                    <a:cs typeface="Segoe UI Semibold" panose="020B0702040204020203" pitchFamily="34" charset="0"/>
                  </a:rPr>
                  <a:t>Container-based CI/CD with</a:t>
                </a:r>
                <a:br>
                  <a:rPr lang="en-US" sz="1200" kern="0">
                    <a:latin typeface="Segoe UI Semibold" panose="020B0702040204020203" pitchFamily="34" charset="0"/>
                    <a:cs typeface="Segoe UI Semibold" panose="020B0702040204020203" pitchFamily="34" charset="0"/>
                  </a:rPr>
                </a:br>
                <a:r>
                  <a:rPr lang="en-US" sz="1200" kern="0">
                    <a:latin typeface="Segoe UI Semibold" panose="020B0702040204020203" pitchFamily="34" charset="0"/>
                    <a:cs typeface="Segoe UI Semibold" panose="020B0702040204020203" pitchFamily="34" charset="0"/>
                  </a:rPr>
                  <a:t>Azure DevOps</a:t>
                </a:r>
              </a:p>
            </p:txBody>
          </p:sp>
          <p:cxnSp>
            <p:nvCxnSpPr>
              <p:cNvPr id="57" name="Straight Connector 56"/>
              <p:cNvCxnSpPr/>
              <p:nvPr/>
            </p:nvCxnSpPr>
            <p:spPr>
              <a:xfrm>
                <a:off x="9387437" y="2018449"/>
                <a:ext cx="0" cy="99291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2050" name="Picture 2" descr="See the source image">
              <a:extLst>
                <a:ext uri="{FF2B5EF4-FFF2-40B4-BE49-F238E27FC236}">
                  <a16:creationId xmlns:a16="http://schemas.microsoft.com/office/drawing/2014/main" id="{25A75902-3483-4FEF-905B-8394F976A8F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703058" y="2336651"/>
              <a:ext cx="550746" cy="5507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a:extLst>
              <a:ext uri="{FF2B5EF4-FFF2-40B4-BE49-F238E27FC236}">
                <a16:creationId xmlns:a16="http://schemas.microsoft.com/office/drawing/2014/main" id="{83D07F56-C8CD-4C74-9D64-6D4F39DF8FD1}"/>
              </a:ext>
            </a:extLst>
          </p:cNvPr>
          <p:cNvGrpSpPr/>
          <p:nvPr/>
        </p:nvGrpSpPr>
        <p:grpSpPr>
          <a:xfrm>
            <a:off x="7672679" y="3118103"/>
            <a:ext cx="1357342" cy="1259363"/>
            <a:chOff x="7672679" y="3118103"/>
            <a:chExt cx="1357342" cy="1259363"/>
          </a:xfrm>
        </p:grpSpPr>
        <p:grpSp>
          <p:nvGrpSpPr>
            <p:cNvPr id="5" name="Group 4"/>
            <p:cNvGrpSpPr/>
            <p:nvPr/>
          </p:nvGrpSpPr>
          <p:grpSpPr>
            <a:xfrm>
              <a:off x="7672679" y="3344628"/>
              <a:ext cx="1357342" cy="1032838"/>
              <a:chOff x="7312452" y="2962994"/>
              <a:chExt cx="1304872" cy="992912"/>
            </a:xfrm>
          </p:grpSpPr>
          <p:pic>
            <p:nvPicPr>
              <p:cNvPr id="7" name="Picture 6"/>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312452" y="3448802"/>
                <a:ext cx="355930" cy="85076"/>
              </a:xfrm>
              <a:prstGeom prst="rect">
                <a:avLst/>
              </a:prstGeom>
            </p:spPr>
          </p:pic>
          <p:pic>
            <p:nvPicPr>
              <p:cNvPr id="8" name="Picture 7"/>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7780415" y="2981217"/>
                <a:ext cx="198490" cy="215601"/>
              </a:xfrm>
              <a:prstGeom prst="rect">
                <a:avLst/>
              </a:prstGeom>
            </p:spPr>
          </p:pic>
          <p:sp>
            <p:nvSpPr>
              <p:cNvPr id="9" name="TextBox 8"/>
              <p:cNvSpPr txBox="1"/>
              <p:nvPr/>
            </p:nvSpPr>
            <p:spPr>
              <a:xfrm>
                <a:off x="7591510" y="3126811"/>
                <a:ext cx="1025814" cy="774791"/>
              </a:xfrm>
              <a:prstGeom prst="rect">
                <a:avLst/>
              </a:prstGeom>
              <a:noFill/>
            </p:spPr>
            <p:txBody>
              <a:bodyPr wrap="none" lIns="190234" tIns="152188" rIns="190234" bIns="152188" rtlCol="0">
                <a:spAutoFit/>
              </a:bodyPr>
              <a:lstStyle/>
              <a:p>
                <a:pPr defTabSz="951156">
                  <a:lnSpc>
                    <a:spcPct val="90000"/>
                  </a:lnSpc>
                  <a:spcAft>
                    <a:spcPts val="624"/>
                  </a:spcAft>
                  <a:defRPr/>
                </a:pPr>
                <a:r>
                  <a:rPr lang="en-US" sz="1200" b="1" kern="0">
                    <a:latin typeface="Segoe UI Semibold" panose="020B0702040204020203" pitchFamily="34" charset="0"/>
                    <a:cs typeface="Segoe UI Semibold" panose="020B0702040204020203" pitchFamily="34" charset="0"/>
                  </a:rPr>
                  <a:t>Azure</a:t>
                </a:r>
                <a:br>
                  <a:rPr lang="en-US" sz="1200" b="1" kern="0">
                    <a:latin typeface="Segoe UI Semibold" panose="020B0702040204020203" pitchFamily="34" charset="0"/>
                    <a:cs typeface="Segoe UI Semibold" panose="020B0702040204020203" pitchFamily="34" charset="0"/>
                  </a:rPr>
                </a:br>
                <a:r>
                  <a:rPr lang="en-US" sz="1200" b="1" kern="0">
                    <a:latin typeface="Segoe UI Semibold" panose="020B0702040204020203" pitchFamily="34" charset="0"/>
                    <a:cs typeface="Segoe UI Semibold" panose="020B0702040204020203" pitchFamily="34" charset="0"/>
                  </a:rPr>
                  <a:t>Container</a:t>
                </a:r>
                <a:br>
                  <a:rPr lang="en-US" sz="1200" b="1" kern="0">
                    <a:latin typeface="Segoe UI Semibold" panose="020B0702040204020203" pitchFamily="34" charset="0"/>
                    <a:cs typeface="Segoe UI Semibold" panose="020B0702040204020203" pitchFamily="34" charset="0"/>
                  </a:rPr>
                </a:br>
                <a:r>
                  <a:rPr lang="en-US" sz="1200" b="1" kern="0">
                    <a:latin typeface="Segoe UI Semibold" panose="020B0702040204020203" pitchFamily="34" charset="0"/>
                    <a:cs typeface="Segoe UI Semibold" panose="020B0702040204020203" pitchFamily="34" charset="0"/>
                  </a:rPr>
                  <a:t>Registry</a:t>
                </a:r>
              </a:p>
            </p:txBody>
          </p:sp>
          <p:cxnSp>
            <p:nvCxnSpPr>
              <p:cNvPr id="10" name="Straight Connector 9"/>
              <p:cNvCxnSpPr/>
              <p:nvPr/>
            </p:nvCxnSpPr>
            <p:spPr>
              <a:xfrm>
                <a:off x="7656608" y="2962994"/>
                <a:ext cx="0" cy="99291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2052" name="Picture 4" descr="See the source image">
              <a:extLst>
                <a:ext uri="{FF2B5EF4-FFF2-40B4-BE49-F238E27FC236}">
                  <a16:creationId xmlns:a16="http://schemas.microsoft.com/office/drawing/2014/main" id="{E1EFB02F-BB2D-4695-8A69-A076DF4F330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288652" y="3118103"/>
              <a:ext cx="666421" cy="4998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C37BF54C-2313-4912-904B-EB4144C3706A}"/>
              </a:ext>
            </a:extLst>
          </p:cNvPr>
          <p:cNvGrpSpPr/>
          <p:nvPr/>
        </p:nvGrpSpPr>
        <p:grpSpPr>
          <a:xfrm>
            <a:off x="4798725" y="4826090"/>
            <a:ext cx="2582217" cy="1069009"/>
            <a:chOff x="4798725" y="4826090"/>
            <a:chExt cx="2582217" cy="1069009"/>
          </a:xfrm>
        </p:grpSpPr>
        <p:grpSp>
          <p:nvGrpSpPr>
            <p:cNvPr id="47" name="Group 46"/>
            <p:cNvGrpSpPr/>
            <p:nvPr/>
          </p:nvGrpSpPr>
          <p:grpSpPr>
            <a:xfrm rot="5400000">
              <a:off x="5646653" y="3978162"/>
              <a:ext cx="886362" cy="2582217"/>
              <a:chOff x="7284859" y="2264788"/>
              <a:chExt cx="852100" cy="2453105"/>
            </a:xfrm>
          </p:grpSpPr>
          <p:pic>
            <p:nvPicPr>
              <p:cNvPr id="49" name="Picture 48"/>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10800000">
                <a:off x="7284859" y="3448801"/>
                <a:ext cx="355930" cy="85076"/>
              </a:xfrm>
              <a:prstGeom prst="rect">
                <a:avLst/>
              </a:prstGeom>
            </p:spPr>
          </p:pic>
          <p:sp>
            <p:nvSpPr>
              <p:cNvPr id="50" name="TextBox 49"/>
              <p:cNvSpPr txBox="1"/>
              <p:nvPr/>
            </p:nvSpPr>
            <p:spPr>
              <a:xfrm rot="16200000">
                <a:off x="6682785" y="3263719"/>
                <a:ext cx="2453105" cy="455243"/>
              </a:xfrm>
              <a:prstGeom prst="rect">
                <a:avLst/>
              </a:prstGeom>
              <a:noFill/>
            </p:spPr>
            <p:txBody>
              <a:bodyPr wrap="square" lIns="190234" tIns="152188" rIns="190234" bIns="152188" rtlCol="0">
                <a:spAutoFit/>
              </a:bodyPr>
              <a:lstStyle/>
              <a:p>
                <a:pPr algn="ctr" defTabSz="951156">
                  <a:lnSpc>
                    <a:spcPct val="90000"/>
                  </a:lnSpc>
                  <a:spcAft>
                    <a:spcPts val="624"/>
                  </a:spcAft>
                  <a:defRPr/>
                </a:pPr>
                <a:r>
                  <a:rPr lang="en-US" sz="1200" kern="0">
                    <a:latin typeface="Segoe UI Semibold" panose="020B0702040204020203" pitchFamily="34" charset="0"/>
                    <a:cs typeface="Segoe UI Semibold" panose="020B0702040204020203" pitchFamily="34" charset="0"/>
                  </a:rPr>
                  <a:t>Azure Monitor for Containers</a:t>
                </a:r>
              </a:p>
            </p:txBody>
          </p:sp>
          <p:cxnSp>
            <p:nvCxnSpPr>
              <p:cNvPr id="51" name="Straight Connector 50"/>
              <p:cNvCxnSpPr>
                <a:cxnSpLocks/>
              </p:cNvCxnSpPr>
              <p:nvPr/>
            </p:nvCxnSpPr>
            <p:spPr>
              <a:xfrm>
                <a:off x="7682120" y="3020672"/>
                <a:ext cx="0" cy="99291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2054" name="Picture 6" descr="See the source image">
              <a:extLst>
                <a:ext uri="{FF2B5EF4-FFF2-40B4-BE49-F238E27FC236}">
                  <a16:creationId xmlns:a16="http://schemas.microsoft.com/office/drawing/2014/main" id="{5198B98C-C9BF-4E6B-A634-2F9DDAA3C1C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63333" y="5617047"/>
              <a:ext cx="653000" cy="27805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D57286BB-C000-44EF-B3AA-C4F52C82136E}"/>
              </a:ext>
            </a:extLst>
          </p:cNvPr>
          <p:cNvGrpSpPr/>
          <p:nvPr/>
        </p:nvGrpSpPr>
        <p:grpSpPr>
          <a:xfrm>
            <a:off x="4458887" y="3017061"/>
            <a:ext cx="3271956" cy="1685848"/>
            <a:chOff x="4458887" y="3017061"/>
            <a:chExt cx="3271956" cy="1685848"/>
          </a:xfrm>
        </p:grpSpPr>
        <p:grpSp>
          <p:nvGrpSpPr>
            <p:cNvPr id="2" name="Group 1">
              <a:extLst>
                <a:ext uri="{FF2B5EF4-FFF2-40B4-BE49-F238E27FC236}">
                  <a16:creationId xmlns:a16="http://schemas.microsoft.com/office/drawing/2014/main" id="{0C939FE3-4AC0-4B20-8378-85E32F536528}"/>
                </a:ext>
              </a:extLst>
            </p:cNvPr>
            <p:cNvGrpSpPr/>
            <p:nvPr/>
          </p:nvGrpSpPr>
          <p:grpSpPr>
            <a:xfrm>
              <a:off x="4458887" y="3017061"/>
              <a:ext cx="3271956" cy="1685848"/>
              <a:chOff x="4458887" y="3017061"/>
              <a:chExt cx="3271956" cy="1685848"/>
            </a:xfrm>
          </p:grpSpPr>
          <p:grpSp>
            <p:nvGrpSpPr>
              <p:cNvPr id="17" name="Group 16"/>
              <p:cNvGrpSpPr/>
              <p:nvPr/>
            </p:nvGrpSpPr>
            <p:grpSpPr>
              <a:xfrm>
                <a:off x="4458887" y="3017061"/>
                <a:ext cx="3271956" cy="1685848"/>
                <a:chOff x="6384817" y="2640363"/>
                <a:chExt cx="3162057" cy="2316029"/>
              </a:xfrm>
            </p:grpSpPr>
            <p:sp>
              <p:nvSpPr>
                <p:cNvPr id="35" name="Rectangle 34"/>
                <p:cNvSpPr/>
                <p:nvPr/>
              </p:nvSpPr>
              <p:spPr bwMode="auto">
                <a:xfrm>
                  <a:off x="6410508" y="2640363"/>
                  <a:ext cx="3005171" cy="2316029"/>
                </a:xfrm>
                <a:prstGeom prst="rect">
                  <a:avLst/>
                </a:prstGeom>
                <a:solidFill>
                  <a:srgbClr val="0063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2856" b="1" kern="0" err="1">
                    <a:solidFill>
                      <a:schemeClr val="tx1"/>
                    </a:solidFill>
                    <a:latin typeface="+mj-lt"/>
                    <a:ea typeface="Segoe UI" pitchFamily="34" charset="0"/>
                    <a:cs typeface="Segoe UI" pitchFamily="34" charset="0"/>
                  </a:endParaRPr>
                </a:p>
              </p:txBody>
            </p:sp>
            <p:sp>
              <p:nvSpPr>
                <p:cNvPr id="36" name="TextBox 35"/>
                <p:cNvSpPr txBox="1"/>
                <p:nvPr/>
              </p:nvSpPr>
              <p:spPr>
                <a:xfrm>
                  <a:off x="6384817" y="4278202"/>
                  <a:ext cx="3162057" cy="655108"/>
                </a:xfrm>
                <a:prstGeom prst="rect">
                  <a:avLst/>
                </a:prstGeom>
                <a:solidFill>
                  <a:schemeClr val="bg1"/>
                </a:solidFill>
              </p:spPr>
              <p:txBody>
                <a:bodyPr wrap="square" lIns="190234" tIns="152188" rIns="190234" bIns="152188" rtlCol="0">
                  <a:spAutoFit/>
                </a:bodyPr>
                <a:lstStyle/>
                <a:p>
                  <a:pPr algn="ctr" defTabSz="951156">
                    <a:lnSpc>
                      <a:spcPct val="90000"/>
                    </a:lnSpc>
                    <a:spcAft>
                      <a:spcPts val="624"/>
                    </a:spcAft>
                    <a:defRPr/>
                  </a:pPr>
                  <a:r>
                    <a:rPr lang="en-US" sz="1200" b="1" kern="0">
                      <a:latin typeface="Segoe UI Semibold" panose="020B0702040204020203" pitchFamily="34" charset="0"/>
                      <a:cs typeface="Segoe UI Semibold" panose="020B0702040204020203" pitchFamily="34" charset="0"/>
                    </a:rPr>
                    <a:t>AKS </a:t>
                  </a:r>
                  <a:r>
                    <a:rPr lang="mr-IN" sz="1200" b="1" kern="0">
                      <a:latin typeface="Segoe UI Semibold" panose="020B0702040204020203" pitchFamily="34" charset="0"/>
                      <a:cs typeface="Segoe UI Semibold" panose="020B0702040204020203" pitchFamily="34" charset="0"/>
                    </a:rPr>
                    <a:t>–</a:t>
                  </a:r>
                  <a:r>
                    <a:rPr lang="en-US" sz="1200" b="1" kern="0">
                      <a:latin typeface="Segoe UI Semibold" panose="020B0702040204020203" pitchFamily="34" charset="0"/>
                      <a:cs typeface="Segoe UI Semibold" panose="020B0702040204020203" pitchFamily="34" charset="0"/>
                    </a:rPr>
                    <a:t> Azure Kubernetes Service</a:t>
                  </a:r>
                </a:p>
              </p:txBody>
            </p:sp>
          </p:grpSp>
          <p:grpSp>
            <p:nvGrpSpPr>
              <p:cNvPr id="18" name="Group 17"/>
              <p:cNvGrpSpPr/>
              <p:nvPr/>
            </p:nvGrpSpPr>
            <p:grpSpPr>
              <a:xfrm>
                <a:off x="4888771" y="3332934"/>
                <a:ext cx="2320126" cy="308800"/>
                <a:chOff x="3749675" y="2147445"/>
                <a:chExt cx="2230438" cy="296863"/>
              </a:xfrm>
            </p:grpSpPr>
            <p:grpSp>
              <p:nvGrpSpPr>
                <p:cNvPr id="29" name="Group 19"/>
                <p:cNvGrpSpPr>
                  <a:grpSpLocks noChangeAspect="1"/>
                </p:cNvGrpSpPr>
                <p:nvPr/>
              </p:nvGrpSpPr>
              <p:grpSpPr bwMode="auto">
                <a:xfrm>
                  <a:off x="3749675" y="2147445"/>
                  <a:ext cx="2230438" cy="296863"/>
                  <a:chOff x="2362" y="1778"/>
                  <a:chExt cx="1405" cy="187"/>
                </a:xfrm>
              </p:grpSpPr>
              <p:sp>
                <p:nvSpPr>
                  <p:cNvPr id="32" name="AutoShape 18"/>
                  <p:cNvSpPr>
                    <a:spLocks noChangeAspect="1" noChangeArrowheads="1" noTextEdit="1"/>
                  </p:cNvSpPr>
                  <p:nvPr/>
                </p:nvSpPr>
                <p:spPr bwMode="auto">
                  <a:xfrm>
                    <a:off x="2362" y="1778"/>
                    <a:ext cx="1405" cy="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2040" b="1" kern="0">
                      <a:latin typeface="+mj-lt"/>
                    </a:endParaRPr>
                  </a:p>
                </p:txBody>
              </p:sp>
              <p:sp>
                <p:nvSpPr>
                  <p:cNvPr id="33" name="Freeform 20"/>
                  <p:cNvSpPr>
                    <a:spLocks/>
                  </p:cNvSpPr>
                  <p:nvPr/>
                </p:nvSpPr>
                <p:spPr bwMode="auto">
                  <a:xfrm>
                    <a:off x="2362" y="1778"/>
                    <a:ext cx="1405" cy="187"/>
                  </a:xfrm>
                  <a:custGeom>
                    <a:avLst/>
                    <a:gdLst>
                      <a:gd name="T0" fmla="*/ 3722 w 3817"/>
                      <a:gd name="T1" fmla="*/ 508 h 508"/>
                      <a:gd name="T2" fmla="*/ 95 w 3817"/>
                      <a:gd name="T3" fmla="*/ 508 h 508"/>
                      <a:gd name="T4" fmla="*/ 0 w 3817"/>
                      <a:gd name="T5" fmla="*/ 413 h 508"/>
                      <a:gd name="T6" fmla="*/ 0 w 3817"/>
                      <a:gd name="T7" fmla="*/ 95 h 508"/>
                      <a:gd name="T8" fmla="*/ 95 w 3817"/>
                      <a:gd name="T9" fmla="*/ 0 h 508"/>
                      <a:gd name="T10" fmla="*/ 3722 w 3817"/>
                      <a:gd name="T11" fmla="*/ 0 h 508"/>
                      <a:gd name="T12" fmla="*/ 3817 w 3817"/>
                      <a:gd name="T13" fmla="*/ 95 h 508"/>
                      <a:gd name="T14" fmla="*/ 3817 w 3817"/>
                      <a:gd name="T15" fmla="*/ 413 h 508"/>
                      <a:gd name="T16" fmla="*/ 3722 w 3817"/>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17" h="508">
                        <a:moveTo>
                          <a:pt x="3722" y="508"/>
                        </a:moveTo>
                        <a:cubicBezTo>
                          <a:pt x="95" y="508"/>
                          <a:pt x="95" y="508"/>
                          <a:pt x="95" y="508"/>
                        </a:cubicBezTo>
                        <a:cubicBezTo>
                          <a:pt x="42" y="508"/>
                          <a:pt x="0" y="466"/>
                          <a:pt x="0" y="413"/>
                        </a:cubicBezTo>
                        <a:cubicBezTo>
                          <a:pt x="0" y="95"/>
                          <a:pt x="0" y="95"/>
                          <a:pt x="0" y="95"/>
                        </a:cubicBezTo>
                        <a:cubicBezTo>
                          <a:pt x="0" y="42"/>
                          <a:pt x="42" y="0"/>
                          <a:pt x="95" y="0"/>
                        </a:cubicBezTo>
                        <a:cubicBezTo>
                          <a:pt x="3722" y="0"/>
                          <a:pt x="3722" y="0"/>
                          <a:pt x="3722" y="0"/>
                        </a:cubicBezTo>
                        <a:cubicBezTo>
                          <a:pt x="3775" y="0"/>
                          <a:pt x="3817" y="42"/>
                          <a:pt x="3817" y="95"/>
                        </a:cubicBezTo>
                        <a:cubicBezTo>
                          <a:pt x="3817" y="413"/>
                          <a:pt x="3817" y="413"/>
                          <a:pt x="3817" y="413"/>
                        </a:cubicBezTo>
                        <a:cubicBezTo>
                          <a:pt x="3817" y="466"/>
                          <a:pt x="3775" y="508"/>
                          <a:pt x="3722" y="508"/>
                        </a:cubicBez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2040" b="1" kern="0">
                      <a:latin typeface="+mj-lt"/>
                    </a:endParaRPr>
                  </a:p>
                </p:txBody>
              </p:sp>
              <p:sp>
                <p:nvSpPr>
                  <p:cNvPr id="34" name="Freeform 21"/>
                  <p:cNvSpPr>
                    <a:spLocks/>
                  </p:cNvSpPr>
                  <p:nvPr/>
                </p:nvSpPr>
                <p:spPr bwMode="auto">
                  <a:xfrm>
                    <a:off x="2568" y="1778"/>
                    <a:ext cx="1199" cy="187"/>
                  </a:xfrm>
                  <a:custGeom>
                    <a:avLst/>
                    <a:gdLst>
                      <a:gd name="T0" fmla="*/ 0 w 3259"/>
                      <a:gd name="T1" fmla="*/ 0 h 508"/>
                      <a:gd name="T2" fmla="*/ 3164 w 3259"/>
                      <a:gd name="T3" fmla="*/ 0 h 508"/>
                      <a:gd name="T4" fmla="*/ 3259 w 3259"/>
                      <a:gd name="T5" fmla="*/ 95 h 508"/>
                      <a:gd name="T6" fmla="*/ 3259 w 3259"/>
                      <a:gd name="T7" fmla="*/ 413 h 508"/>
                      <a:gd name="T8" fmla="*/ 3164 w 3259"/>
                      <a:gd name="T9" fmla="*/ 508 h 508"/>
                      <a:gd name="T10" fmla="*/ 0 w 3259"/>
                      <a:gd name="T11" fmla="*/ 508 h 508"/>
                      <a:gd name="T12" fmla="*/ 0 w 3259"/>
                      <a:gd name="T13" fmla="*/ 0 h 508"/>
                    </a:gdLst>
                    <a:ahLst/>
                    <a:cxnLst>
                      <a:cxn ang="0">
                        <a:pos x="T0" y="T1"/>
                      </a:cxn>
                      <a:cxn ang="0">
                        <a:pos x="T2" y="T3"/>
                      </a:cxn>
                      <a:cxn ang="0">
                        <a:pos x="T4" y="T5"/>
                      </a:cxn>
                      <a:cxn ang="0">
                        <a:pos x="T6" y="T7"/>
                      </a:cxn>
                      <a:cxn ang="0">
                        <a:pos x="T8" y="T9"/>
                      </a:cxn>
                      <a:cxn ang="0">
                        <a:pos x="T10" y="T11"/>
                      </a:cxn>
                      <a:cxn ang="0">
                        <a:pos x="T12" y="T13"/>
                      </a:cxn>
                    </a:cxnLst>
                    <a:rect l="0" t="0" r="r" b="b"/>
                    <a:pathLst>
                      <a:path w="3259" h="508">
                        <a:moveTo>
                          <a:pt x="0" y="0"/>
                        </a:moveTo>
                        <a:cubicBezTo>
                          <a:pt x="3164" y="0"/>
                          <a:pt x="3164" y="0"/>
                          <a:pt x="3164" y="0"/>
                        </a:cubicBezTo>
                        <a:cubicBezTo>
                          <a:pt x="3217" y="0"/>
                          <a:pt x="3259" y="42"/>
                          <a:pt x="3259" y="95"/>
                        </a:cubicBezTo>
                        <a:cubicBezTo>
                          <a:pt x="3259" y="413"/>
                          <a:pt x="3259" y="413"/>
                          <a:pt x="3259" y="413"/>
                        </a:cubicBezTo>
                        <a:cubicBezTo>
                          <a:pt x="3259" y="466"/>
                          <a:pt x="3217" y="508"/>
                          <a:pt x="3164" y="508"/>
                        </a:cubicBezTo>
                        <a:cubicBezTo>
                          <a:pt x="0" y="508"/>
                          <a:pt x="0" y="508"/>
                          <a:pt x="0" y="508"/>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2040" b="1" kern="0">
                      <a:latin typeface="+mj-lt"/>
                    </a:endParaRPr>
                  </a:p>
                </p:txBody>
              </p:sp>
            </p:grpSp>
            <p:sp>
              <p:nvSpPr>
                <p:cNvPr id="30" name="TextBox 29"/>
                <p:cNvSpPr txBox="1"/>
                <p:nvPr/>
              </p:nvSpPr>
              <p:spPr>
                <a:xfrm>
                  <a:off x="4158924" y="2239769"/>
                  <a:ext cx="947738" cy="106517"/>
                </a:xfrm>
                <a:prstGeom prst="rect">
                  <a:avLst/>
                </a:prstGeom>
                <a:noFill/>
              </p:spPr>
              <p:txBody>
                <a:bodyPr wrap="none" lIns="0" tIns="0" rIns="0" bIns="0" rtlCol="0">
                  <a:spAutoFit/>
                </a:bodyPr>
                <a:lstStyle/>
                <a:p>
                  <a:pPr defTabSz="951156">
                    <a:lnSpc>
                      <a:spcPct val="90000"/>
                    </a:lnSpc>
                    <a:spcAft>
                      <a:spcPts val="624"/>
                    </a:spcAft>
                    <a:defRPr/>
                  </a:pPr>
                  <a:r>
                    <a:rPr lang="en-US" sz="800" b="1" kern="0">
                      <a:latin typeface="Segoe UI Semibold" panose="020B0702040204020203" pitchFamily="34" charset="0"/>
                      <a:cs typeface="Segoe UI Semibold" panose="020B0702040204020203" pitchFamily="34" charset="0"/>
                    </a:rPr>
                    <a:t>Web App (Front End)</a:t>
                  </a:r>
                </a:p>
              </p:txBody>
            </p:sp>
            <p:sp>
              <p:nvSpPr>
                <p:cNvPr id="31" name="TextBox 30"/>
                <p:cNvSpPr txBox="1"/>
                <p:nvPr/>
              </p:nvSpPr>
              <p:spPr>
                <a:xfrm>
                  <a:off x="5243184" y="2239769"/>
                  <a:ext cx="633367" cy="108613"/>
                </a:xfrm>
                <a:prstGeom prst="rect">
                  <a:avLst/>
                </a:prstGeom>
                <a:noFill/>
              </p:spPr>
              <p:txBody>
                <a:bodyPr wrap="none" lIns="0" tIns="0" rIns="0" bIns="0" rtlCol="0">
                  <a:spAutoFit/>
                </a:bodyPr>
                <a:lstStyle/>
                <a:p>
                  <a:pPr algn="r" defTabSz="951156">
                    <a:lnSpc>
                      <a:spcPct val="90000"/>
                    </a:lnSpc>
                    <a:spcAft>
                      <a:spcPts val="624"/>
                    </a:spcAft>
                    <a:defRPr/>
                  </a:pPr>
                  <a:r>
                    <a:rPr lang="en-US" sz="800" b="1" kern="0">
                      <a:latin typeface="Segoe UI Semibold" panose="020B0702040204020203" pitchFamily="34" charset="0"/>
                      <a:cs typeface="Segoe UI Semibold" panose="020B0702040204020203" pitchFamily="34" charset="0"/>
                    </a:rPr>
                    <a:t>ASP.NET Core</a:t>
                  </a:r>
                </a:p>
              </p:txBody>
            </p:sp>
          </p:grpSp>
          <p:grpSp>
            <p:nvGrpSpPr>
              <p:cNvPr id="19" name="Group 18"/>
              <p:cNvGrpSpPr/>
              <p:nvPr/>
            </p:nvGrpSpPr>
            <p:grpSpPr>
              <a:xfrm>
                <a:off x="4888771" y="3683478"/>
                <a:ext cx="2320126" cy="308800"/>
                <a:chOff x="4304311" y="3314648"/>
                <a:chExt cx="2230438" cy="296863"/>
              </a:xfrm>
            </p:grpSpPr>
            <p:grpSp>
              <p:nvGrpSpPr>
                <p:cNvPr id="21" name="Group 20"/>
                <p:cNvGrpSpPr/>
                <p:nvPr/>
              </p:nvGrpSpPr>
              <p:grpSpPr>
                <a:xfrm>
                  <a:off x="4304311" y="3314648"/>
                  <a:ext cx="2230438" cy="296863"/>
                  <a:chOff x="3749675" y="2147445"/>
                  <a:chExt cx="2230438" cy="296863"/>
                </a:xfrm>
              </p:grpSpPr>
              <p:grpSp>
                <p:nvGrpSpPr>
                  <p:cNvPr id="23" name="Group 19"/>
                  <p:cNvGrpSpPr>
                    <a:grpSpLocks noChangeAspect="1"/>
                  </p:cNvGrpSpPr>
                  <p:nvPr/>
                </p:nvGrpSpPr>
                <p:grpSpPr bwMode="auto">
                  <a:xfrm>
                    <a:off x="3749675" y="2147445"/>
                    <a:ext cx="2230438" cy="296863"/>
                    <a:chOff x="2362" y="1778"/>
                    <a:chExt cx="1405" cy="187"/>
                  </a:xfrm>
                </p:grpSpPr>
                <p:sp>
                  <p:nvSpPr>
                    <p:cNvPr id="26" name="AutoShape 18"/>
                    <p:cNvSpPr>
                      <a:spLocks noChangeAspect="1" noChangeArrowheads="1" noTextEdit="1"/>
                    </p:cNvSpPr>
                    <p:nvPr/>
                  </p:nvSpPr>
                  <p:spPr bwMode="auto">
                    <a:xfrm>
                      <a:off x="2362" y="1778"/>
                      <a:ext cx="1405" cy="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2040" b="1" kern="0">
                        <a:latin typeface="+mj-lt"/>
                      </a:endParaRPr>
                    </a:p>
                  </p:txBody>
                </p:sp>
                <p:sp>
                  <p:nvSpPr>
                    <p:cNvPr id="27" name="Freeform 20"/>
                    <p:cNvSpPr>
                      <a:spLocks/>
                    </p:cNvSpPr>
                    <p:nvPr/>
                  </p:nvSpPr>
                  <p:spPr bwMode="auto">
                    <a:xfrm>
                      <a:off x="2362" y="1778"/>
                      <a:ext cx="1405" cy="187"/>
                    </a:xfrm>
                    <a:custGeom>
                      <a:avLst/>
                      <a:gdLst>
                        <a:gd name="T0" fmla="*/ 3722 w 3817"/>
                        <a:gd name="T1" fmla="*/ 508 h 508"/>
                        <a:gd name="T2" fmla="*/ 95 w 3817"/>
                        <a:gd name="T3" fmla="*/ 508 h 508"/>
                        <a:gd name="T4" fmla="*/ 0 w 3817"/>
                        <a:gd name="T5" fmla="*/ 413 h 508"/>
                        <a:gd name="T6" fmla="*/ 0 w 3817"/>
                        <a:gd name="T7" fmla="*/ 95 h 508"/>
                        <a:gd name="T8" fmla="*/ 95 w 3817"/>
                        <a:gd name="T9" fmla="*/ 0 h 508"/>
                        <a:gd name="T10" fmla="*/ 3722 w 3817"/>
                        <a:gd name="T11" fmla="*/ 0 h 508"/>
                        <a:gd name="T12" fmla="*/ 3817 w 3817"/>
                        <a:gd name="T13" fmla="*/ 95 h 508"/>
                        <a:gd name="T14" fmla="*/ 3817 w 3817"/>
                        <a:gd name="T15" fmla="*/ 413 h 508"/>
                        <a:gd name="T16" fmla="*/ 3722 w 3817"/>
                        <a:gd name="T17" fmla="*/ 50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17" h="508">
                          <a:moveTo>
                            <a:pt x="3722" y="508"/>
                          </a:moveTo>
                          <a:cubicBezTo>
                            <a:pt x="95" y="508"/>
                            <a:pt x="95" y="508"/>
                            <a:pt x="95" y="508"/>
                          </a:cubicBezTo>
                          <a:cubicBezTo>
                            <a:pt x="42" y="508"/>
                            <a:pt x="0" y="466"/>
                            <a:pt x="0" y="413"/>
                          </a:cubicBezTo>
                          <a:cubicBezTo>
                            <a:pt x="0" y="95"/>
                            <a:pt x="0" y="95"/>
                            <a:pt x="0" y="95"/>
                          </a:cubicBezTo>
                          <a:cubicBezTo>
                            <a:pt x="0" y="42"/>
                            <a:pt x="42" y="0"/>
                            <a:pt x="95" y="0"/>
                          </a:cubicBezTo>
                          <a:cubicBezTo>
                            <a:pt x="3722" y="0"/>
                            <a:pt x="3722" y="0"/>
                            <a:pt x="3722" y="0"/>
                          </a:cubicBezTo>
                          <a:cubicBezTo>
                            <a:pt x="3775" y="0"/>
                            <a:pt x="3817" y="42"/>
                            <a:pt x="3817" y="95"/>
                          </a:cubicBezTo>
                          <a:cubicBezTo>
                            <a:pt x="3817" y="413"/>
                            <a:pt x="3817" y="413"/>
                            <a:pt x="3817" y="413"/>
                          </a:cubicBezTo>
                          <a:cubicBezTo>
                            <a:pt x="3817" y="466"/>
                            <a:pt x="3775" y="508"/>
                            <a:pt x="3722" y="508"/>
                          </a:cubicBezTo>
                          <a:close/>
                        </a:path>
                      </a:pathLst>
                    </a:custGeom>
                    <a:solidFill>
                      <a:srgbClr val="603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2040" b="1" kern="0">
                        <a:latin typeface="+mj-lt"/>
                      </a:endParaRPr>
                    </a:p>
                  </p:txBody>
                </p:sp>
                <p:sp>
                  <p:nvSpPr>
                    <p:cNvPr id="28" name="Freeform 21"/>
                    <p:cNvSpPr>
                      <a:spLocks/>
                    </p:cNvSpPr>
                    <p:nvPr/>
                  </p:nvSpPr>
                  <p:spPr bwMode="auto">
                    <a:xfrm>
                      <a:off x="2568" y="1778"/>
                      <a:ext cx="1199" cy="187"/>
                    </a:xfrm>
                    <a:custGeom>
                      <a:avLst/>
                      <a:gdLst>
                        <a:gd name="T0" fmla="*/ 0 w 3259"/>
                        <a:gd name="T1" fmla="*/ 0 h 508"/>
                        <a:gd name="T2" fmla="*/ 3164 w 3259"/>
                        <a:gd name="T3" fmla="*/ 0 h 508"/>
                        <a:gd name="T4" fmla="*/ 3259 w 3259"/>
                        <a:gd name="T5" fmla="*/ 95 h 508"/>
                        <a:gd name="T6" fmla="*/ 3259 w 3259"/>
                        <a:gd name="T7" fmla="*/ 413 h 508"/>
                        <a:gd name="T8" fmla="*/ 3164 w 3259"/>
                        <a:gd name="T9" fmla="*/ 508 h 508"/>
                        <a:gd name="T10" fmla="*/ 0 w 3259"/>
                        <a:gd name="T11" fmla="*/ 508 h 508"/>
                        <a:gd name="T12" fmla="*/ 0 w 3259"/>
                        <a:gd name="T13" fmla="*/ 0 h 508"/>
                      </a:gdLst>
                      <a:ahLst/>
                      <a:cxnLst>
                        <a:cxn ang="0">
                          <a:pos x="T0" y="T1"/>
                        </a:cxn>
                        <a:cxn ang="0">
                          <a:pos x="T2" y="T3"/>
                        </a:cxn>
                        <a:cxn ang="0">
                          <a:pos x="T4" y="T5"/>
                        </a:cxn>
                        <a:cxn ang="0">
                          <a:pos x="T6" y="T7"/>
                        </a:cxn>
                        <a:cxn ang="0">
                          <a:pos x="T8" y="T9"/>
                        </a:cxn>
                        <a:cxn ang="0">
                          <a:pos x="T10" y="T11"/>
                        </a:cxn>
                        <a:cxn ang="0">
                          <a:pos x="T12" y="T13"/>
                        </a:cxn>
                      </a:cxnLst>
                      <a:rect l="0" t="0" r="r" b="b"/>
                      <a:pathLst>
                        <a:path w="3259" h="508">
                          <a:moveTo>
                            <a:pt x="0" y="0"/>
                          </a:moveTo>
                          <a:cubicBezTo>
                            <a:pt x="3164" y="0"/>
                            <a:pt x="3164" y="0"/>
                            <a:pt x="3164" y="0"/>
                          </a:cubicBezTo>
                          <a:cubicBezTo>
                            <a:pt x="3217" y="0"/>
                            <a:pt x="3259" y="42"/>
                            <a:pt x="3259" y="95"/>
                          </a:cubicBezTo>
                          <a:cubicBezTo>
                            <a:pt x="3259" y="413"/>
                            <a:pt x="3259" y="413"/>
                            <a:pt x="3259" y="413"/>
                          </a:cubicBezTo>
                          <a:cubicBezTo>
                            <a:pt x="3259" y="466"/>
                            <a:pt x="3217" y="508"/>
                            <a:pt x="3164" y="508"/>
                          </a:cubicBezTo>
                          <a:cubicBezTo>
                            <a:pt x="0" y="508"/>
                            <a:pt x="0" y="508"/>
                            <a:pt x="0" y="508"/>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2040" b="1" kern="0">
                        <a:latin typeface="+mj-lt"/>
                      </a:endParaRPr>
                    </a:p>
                  </p:txBody>
                </p:sp>
              </p:grpSp>
              <p:sp>
                <p:nvSpPr>
                  <p:cNvPr id="24" name="TextBox 23"/>
                  <p:cNvSpPr txBox="1"/>
                  <p:nvPr/>
                </p:nvSpPr>
                <p:spPr>
                  <a:xfrm>
                    <a:off x="4158924" y="2239769"/>
                    <a:ext cx="998592" cy="106517"/>
                  </a:xfrm>
                  <a:prstGeom prst="rect">
                    <a:avLst/>
                  </a:prstGeom>
                  <a:noFill/>
                </p:spPr>
                <p:txBody>
                  <a:bodyPr wrap="none" lIns="0" tIns="0" rIns="0" bIns="0" rtlCol="0">
                    <a:spAutoFit/>
                  </a:bodyPr>
                  <a:lstStyle/>
                  <a:p>
                    <a:pPr defTabSz="951156">
                      <a:lnSpc>
                        <a:spcPct val="90000"/>
                      </a:lnSpc>
                      <a:spcAft>
                        <a:spcPts val="624"/>
                      </a:spcAft>
                      <a:defRPr/>
                    </a:pPr>
                    <a:r>
                      <a:rPr lang="en-US" sz="800" b="1" kern="0">
                        <a:latin typeface="Segoe UI Semibold" panose="020B0702040204020203" pitchFamily="34" charset="0"/>
                        <a:cs typeface="Segoe UI Semibold" panose="020B0702040204020203" pitchFamily="34" charset="0"/>
                      </a:rPr>
                      <a:t>Web API  (Restful </a:t>
                    </a:r>
                    <a:r>
                      <a:rPr lang="en-US" sz="800" b="1" kern="0" err="1">
                        <a:latin typeface="Segoe UI Semibold" panose="020B0702040204020203" pitchFamily="34" charset="0"/>
                        <a:cs typeface="Segoe UI Semibold" panose="020B0702040204020203" pitchFamily="34" charset="0"/>
                      </a:rPr>
                      <a:t>Api</a:t>
                    </a:r>
                    <a:r>
                      <a:rPr lang="en-US" sz="800" b="1" kern="0">
                        <a:latin typeface="Segoe UI Semibold" panose="020B0702040204020203" pitchFamily="34" charset="0"/>
                        <a:cs typeface="Segoe UI Semibold" panose="020B0702040204020203" pitchFamily="34" charset="0"/>
                      </a:rPr>
                      <a:t>)</a:t>
                    </a:r>
                  </a:p>
                </p:txBody>
              </p:sp>
              <p:sp>
                <p:nvSpPr>
                  <p:cNvPr id="25" name="TextBox 24"/>
                  <p:cNvSpPr txBox="1"/>
                  <p:nvPr/>
                </p:nvSpPr>
                <p:spPr>
                  <a:xfrm>
                    <a:off x="5243183" y="2239769"/>
                    <a:ext cx="633367" cy="108613"/>
                  </a:xfrm>
                  <a:prstGeom prst="rect">
                    <a:avLst/>
                  </a:prstGeom>
                  <a:noFill/>
                </p:spPr>
                <p:txBody>
                  <a:bodyPr wrap="none" lIns="0" tIns="0" rIns="0" bIns="0" rtlCol="0">
                    <a:spAutoFit/>
                  </a:bodyPr>
                  <a:lstStyle/>
                  <a:p>
                    <a:pPr algn="r" defTabSz="951156">
                      <a:lnSpc>
                        <a:spcPct val="90000"/>
                      </a:lnSpc>
                      <a:spcAft>
                        <a:spcPts val="624"/>
                      </a:spcAft>
                      <a:defRPr/>
                    </a:pPr>
                    <a:r>
                      <a:rPr lang="en-US" sz="800" b="1" kern="0">
                        <a:latin typeface="Segoe UI Semibold" panose="020B0702040204020203" pitchFamily="34" charset="0"/>
                        <a:cs typeface="Segoe UI Semibold" panose="020B0702040204020203" pitchFamily="34" charset="0"/>
                      </a:rPr>
                      <a:t>ASP.NET Core</a:t>
                    </a:r>
                  </a:p>
                </p:txBody>
              </p:sp>
            </p:grpSp>
            <p:sp>
              <p:nvSpPr>
                <p:cNvPr id="22" name="Freeform 14"/>
                <p:cNvSpPr>
                  <a:spLocks noEditPoints="1"/>
                </p:cNvSpPr>
                <p:nvPr/>
              </p:nvSpPr>
              <p:spPr bwMode="auto">
                <a:xfrm>
                  <a:off x="4406833" y="3371801"/>
                  <a:ext cx="135446" cy="170321"/>
                </a:xfrm>
                <a:custGeom>
                  <a:avLst/>
                  <a:gdLst>
                    <a:gd name="T0" fmla="*/ 0 w 167"/>
                    <a:gd name="T1" fmla="*/ 37 h 210"/>
                    <a:gd name="T2" fmla="*/ 0 w 167"/>
                    <a:gd name="T3" fmla="*/ 44 h 210"/>
                    <a:gd name="T4" fmla="*/ 0 w 167"/>
                    <a:gd name="T5" fmla="*/ 195 h 210"/>
                    <a:gd name="T6" fmla="*/ 0 w 167"/>
                    <a:gd name="T7" fmla="*/ 202 h 210"/>
                    <a:gd name="T8" fmla="*/ 0 w 167"/>
                    <a:gd name="T9" fmla="*/ 210 h 210"/>
                    <a:gd name="T10" fmla="*/ 121 w 167"/>
                    <a:gd name="T11" fmla="*/ 210 h 210"/>
                    <a:gd name="T12" fmla="*/ 129 w 167"/>
                    <a:gd name="T13" fmla="*/ 210 h 210"/>
                    <a:gd name="T14" fmla="*/ 136 w 167"/>
                    <a:gd name="T15" fmla="*/ 210 h 210"/>
                    <a:gd name="T16" fmla="*/ 136 w 167"/>
                    <a:gd name="T17" fmla="*/ 180 h 210"/>
                    <a:gd name="T18" fmla="*/ 167 w 167"/>
                    <a:gd name="T19" fmla="*/ 180 h 210"/>
                    <a:gd name="T20" fmla="*/ 167 w 167"/>
                    <a:gd name="T21" fmla="*/ 44 h 210"/>
                    <a:gd name="T22" fmla="*/ 121 w 167"/>
                    <a:gd name="T23" fmla="*/ 0 h 210"/>
                    <a:gd name="T24" fmla="*/ 31 w 167"/>
                    <a:gd name="T25" fmla="*/ 0 h 210"/>
                    <a:gd name="T26" fmla="*/ 31 w 167"/>
                    <a:gd name="T27" fmla="*/ 30 h 210"/>
                    <a:gd name="T28" fmla="*/ 0 w 167"/>
                    <a:gd name="T29" fmla="*/ 30 h 210"/>
                    <a:gd name="T30" fmla="*/ 0 w 167"/>
                    <a:gd name="T31" fmla="*/ 37 h 210"/>
                    <a:gd name="T32" fmla="*/ 145 w 167"/>
                    <a:gd name="T33" fmla="*/ 44 h 210"/>
                    <a:gd name="T34" fmla="*/ 121 w 167"/>
                    <a:gd name="T35" fmla="*/ 44 h 210"/>
                    <a:gd name="T36" fmla="*/ 121 w 167"/>
                    <a:gd name="T37" fmla="*/ 21 h 210"/>
                    <a:gd name="T38" fmla="*/ 145 w 167"/>
                    <a:gd name="T39" fmla="*/ 44 h 210"/>
                    <a:gd name="T40" fmla="*/ 46 w 167"/>
                    <a:gd name="T41" fmla="*/ 15 h 210"/>
                    <a:gd name="T42" fmla="*/ 106 w 167"/>
                    <a:gd name="T43" fmla="*/ 15 h 210"/>
                    <a:gd name="T44" fmla="*/ 106 w 167"/>
                    <a:gd name="T45" fmla="*/ 59 h 210"/>
                    <a:gd name="T46" fmla="*/ 152 w 167"/>
                    <a:gd name="T47" fmla="*/ 59 h 210"/>
                    <a:gd name="T48" fmla="*/ 152 w 167"/>
                    <a:gd name="T49" fmla="*/ 165 h 210"/>
                    <a:gd name="T50" fmla="*/ 46 w 167"/>
                    <a:gd name="T51" fmla="*/ 165 h 210"/>
                    <a:gd name="T52" fmla="*/ 46 w 167"/>
                    <a:gd name="T53" fmla="*/ 15 h 210"/>
                    <a:gd name="T54" fmla="*/ 121 w 167"/>
                    <a:gd name="T55" fmla="*/ 180 h 210"/>
                    <a:gd name="T56" fmla="*/ 121 w 167"/>
                    <a:gd name="T57" fmla="*/ 195 h 210"/>
                    <a:gd name="T58" fmla="*/ 15 w 167"/>
                    <a:gd name="T59" fmla="*/ 195 h 210"/>
                    <a:gd name="T60" fmla="*/ 15 w 167"/>
                    <a:gd name="T61" fmla="*/ 44 h 210"/>
                    <a:gd name="T62" fmla="*/ 31 w 167"/>
                    <a:gd name="T63" fmla="*/ 44 h 210"/>
                    <a:gd name="T64" fmla="*/ 31 w 167"/>
                    <a:gd name="T65" fmla="*/ 180 h 210"/>
                    <a:gd name="T66" fmla="*/ 121 w 167"/>
                    <a:gd name="T67"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 h="210">
                      <a:moveTo>
                        <a:pt x="0" y="37"/>
                      </a:moveTo>
                      <a:lnTo>
                        <a:pt x="0" y="44"/>
                      </a:lnTo>
                      <a:lnTo>
                        <a:pt x="0" y="195"/>
                      </a:lnTo>
                      <a:lnTo>
                        <a:pt x="0" y="202"/>
                      </a:lnTo>
                      <a:lnTo>
                        <a:pt x="0" y="210"/>
                      </a:lnTo>
                      <a:lnTo>
                        <a:pt x="121" y="210"/>
                      </a:lnTo>
                      <a:lnTo>
                        <a:pt x="129" y="210"/>
                      </a:lnTo>
                      <a:lnTo>
                        <a:pt x="136" y="210"/>
                      </a:lnTo>
                      <a:lnTo>
                        <a:pt x="136" y="180"/>
                      </a:lnTo>
                      <a:lnTo>
                        <a:pt x="167" y="180"/>
                      </a:lnTo>
                      <a:lnTo>
                        <a:pt x="167" y="44"/>
                      </a:lnTo>
                      <a:lnTo>
                        <a:pt x="121" y="0"/>
                      </a:lnTo>
                      <a:lnTo>
                        <a:pt x="31" y="0"/>
                      </a:lnTo>
                      <a:lnTo>
                        <a:pt x="31" y="30"/>
                      </a:lnTo>
                      <a:lnTo>
                        <a:pt x="0" y="30"/>
                      </a:lnTo>
                      <a:lnTo>
                        <a:pt x="0" y="37"/>
                      </a:lnTo>
                      <a:close/>
                      <a:moveTo>
                        <a:pt x="145" y="44"/>
                      </a:moveTo>
                      <a:lnTo>
                        <a:pt x="121" y="44"/>
                      </a:lnTo>
                      <a:lnTo>
                        <a:pt x="121" y="21"/>
                      </a:lnTo>
                      <a:lnTo>
                        <a:pt x="145" y="44"/>
                      </a:lnTo>
                      <a:close/>
                      <a:moveTo>
                        <a:pt x="46" y="15"/>
                      </a:moveTo>
                      <a:lnTo>
                        <a:pt x="106" y="15"/>
                      </a:lnTo>
                      <a:lnTo>
                        <a:pt x="106" y="59"/>
                      </a:lnTo>
                      <a:lnTo>
                        <a:pt x="152" y="59"/>
                      </a:lnTo>
                      <a:lnTo>
                        <a:pt x="152" y="165"/>
                      </a:lnTo>
                      <a:lnTo>
                        <a:pt x="46" y="165"/>
                      </a:lnTo>
                      <a:lnTo>
                        <a:pt x="46" y="15"/>
                      </a:lnTo>
                      <a:close/>
                      <a:moveTo>
                        <a:pt x="121" y="180"/>
                      </a:moveTo>
                      <a:lnTo>
                        <a:pt x="121" y="195"/>
                      </a:lnTo>
                      <a:lnTo>
                        <a:pt x="15" y="195"/>
                      </a:lnTo>
                      <a:lnTo>
                        <a:pt x="15" y="44"/>
                      </a:lnTo>
                      <a:lnTo>
                        <a:pt x="31" y="44"/>
                      </a:lnTo>
                      <a:lnTo>
                        <a:pt x="31" y="180"/>
                      </a:lnTo>
                      <a:lnTo>
                        <a:pt x="121" y="1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2040" b="1" kern="0">
                    <a:latin typeface="+mj-lt"/>
                  </a:endParaRPr>
                </a:p>
              </p:txBody>
            </p:sp>
          </p:grpSp>
          <p:sp>
            <p:nvSpPr>
              <p:cNvPr id="93" name="Freeform 14">
                <a:extLst>
                  <a:ext uri="{FF2B5EF4-FFF2-40B4-BE49-F238E27FC236}">
                    <a16:creationId xmlns:a16="http://schemas.microsoft.com/office/drawing/2014/main" id="{98966196-6CDE-4C0B-8604-A9B9F5217C75}"/>
                  </a:ext>
                </a:extLst>
              </p:cNvPr>
              <p:cNvSpPr>
                <a:spLocks noEditPoints="1"/>
              </p:cNvSpPr>
              <p:nvPr/>
            </p:nvSpPr>
            <p:spPr bwMode="auto">
              <a:xfrm>
                <a:off x="4986034" y="3409991"/>
                <a:ext cx="140892" cy="177170"/>
              </a:xfrm>
              <a:custGeom>
                <a:avLst/>
                <a:gdLst>
                  <a:gd name="T0" fmla="*/ 0 w 167"/>
                  <a:gd name="T1" fmla="*/ 37 h 210"/>
                  <a:gd name="T2" fmla="*/ 0 w 167"/>
                  <a:gd name="T3" fmla="*/ 44 h 210"/>
                  <a:gd name="T4" fmla="*/ 0 w 167"/>
                  <a:gd name="T5" fmla="*/ 195 h 210"/>
                  <a:gd name="T6" fmla="*/ 0 w 167"/>
                  <a:gd name="T7" fmla="*/ 202 h 210"/>
                  <a:gd name="T8" fmla="*/ 0 w 167"/>
                  <a:gd name="T9" fmla="*/ 210 h 210"/>
                  <a:gd name="T10" fmla="*/ 121 w 167"/>
                  <a:gd name="T11" fmla="*/ 210 h 210"/>
                  <a:gd name="T12" fmla="*/ 129 w 167"/>
                  <a:gd name="T13" fmla="*/ 210 h 210"/>
                  <a:gd name="T14" fmla="*/ 136 w 167"/>
                  <a:gd name="T15" fmla="*/ 210 h 210"/>
                  <a:gd name="T16" fmla="*/ 136 w 167"/>
                  <a:gd name="T17" fmla="*/ 180 h 210"/>
                  <a:gd name="T18" fmla="*/ 167 w 167"/>
                  <a:gd name="T19" fmla="*/ 180 h 210"/>
                  <a:gd name="T20" fmla="*/ 167 w 167"/>
                  <a:gd name="T21" fmla="*/ 44 h 210"/>
                  <a:gd name="T22" fmla="*/ 121 w 167"/>
                  <a:gd name="T23" fmla="*/ 0 h 210"/>
                  <a:gd name="T24" fmla="*/ 31 w 167"/>
                  <a:gd name="T25" fmla="*/ 0 h 210"/>
                  <a:gd name="T26" fmla="*/ 31 w 167"/>
                  <a:gd name="T27" fmla="*/ 30 h 210"/>
                  <a:gd name="T28" fmla="*/ 0 w 167"/>
                  <a:gd name="T29" fmla="*/ 30 h 210"/>
                  <a:gd name="T30" fmla="*/ 0 w 167"/>
                  <a:gd name="T31" fmla="*/ 37 h 210"/>
                  <a:gd name="T32" fmla="*/ 145 w 167"/>
                  <a:gd name="T33" fmla="*/ 44 h 210"/>
                  <a:gd name="T34" fmla="*/ 121 w 167"/>
                  <a:gd name="T35" fmla="*/ 44 h 210"/>
                  <a:gd name="T36" fmla="*/ 121 w 167"/>
                  <a:gd name="T37" fmla="*/ 21 h 210"/>
                  <a:gd name="T38" fmla="*/ 145 w 167"/>
                  <a:gd name="T39" fmla="*/ 44 h 210"/>
                  <a:gd name="T40" fmla="*/ 46 w 167"/>
                  <a:gd name="T41" fmla="*/ 15 h 210"/>
                  <a:gd name="T42" fmla="*/ 106 w 167"/>
                  <a:gd name="T43" fmla="*/ 15 h 210"/>
                  <a:gd name="T44" fmla="*/ 106 w 167"/>
                  <a:gd name="T45" fmla="*/ 59 h 210"/>
                  <a:gd name="T46" fmla="*/ 152 w 167"/>
                  <a:gd name="T47" fmla="*/ 59 h 210"/>
                  <a:gd name="T48" fmla="*/ 152 w 167"/>
                  <a:gd name="T49" fmla="*/ 165 h 210"/>
                  <a:gd name="T50" fmla="*/ 46 w 167"/>
                  <a:gd name="T51" fmla="*/ 165 h 210"/>
                  <a:gd name="T52" fmla="*/ 46 w 167"/>
                  <a:gd name="T53" fmla="*/ 15 h 210"/>
                  <a:gd name="T54" fmla="*/ 121 w 167"/>
                  <a:gd name="T55" fmla="*/ 180 h 210"/>
                  <a:gd name="T56" fmla="*/ 121 w 167"/>
                  <a:gd name="T57" fmla="*/ 195 h 210"/>
                  <a:gd name="T58" fmla="*/ 15 w 167"/>
                  <a:gd name="T59" fmla="*/ 195 h 210"/>
                  <a:gd name="T60" fmla="*/ 15 w 167"/>
                  <a:gd name="T61" fmla="*/ 44 h 210"/>
                  <a:gd name="T62" fmla="*/ 31 w 167"/>
                  <a:gd name="T63" fmla="*/ 44 h 210"/>
                  <a:gd name="T64" fmla="*/ 31 w 167"/>
                  <a:gd name="T65" fmla="*/ 180 h 210"/>
                  <a:gd name="T66" fmla="*/ 121 w 167"/>
                  <a:gd name="T67"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 h="210">
                    <a:moveTo>
                      <a:pt x="0" y="37"/>
                    </a:moveTo>
                    <a:lnTo>
                      <a:pt x="0" y="44"/>
                    </a:lnTo>
                    <a:lnTo>
                      <a:pt x="0" y="195"/>
                    </a:lnTo>
                    <a:lnTo>
                      <a:pt x="0" y="202"/>
                    </a:lnTo>
                    <a:lnTo>
                      <a:pt x="0" y="210"/>
                    </a:lnTo>
                    <a:lnTo>
                      <a:pt x="121" y="210"/>
                    </a:lnTo>
                    <a:lnTo>
                      <a:pt x="129" y="210"/>
                    </a:lnTo>
                    <a:lnTo>
                      <a:pt x="136" y="210"/>
                    </a:lnTo>
                    <a:lnTo>
                      <a:pt x="136" y="180"/>
                    </a:lnTo>
                    <a:lnTo>
                      <a:pt x="167" y="180"/>
                    </a:lnTo>
                    <a:lnTo>
                      <a:pt x="167" y="44"/>
                    </a:lnTo>
                    <a:lnTo>
                      <a:pt x="121" y="0"/>
                    </a:lnTo>
                    <a:lnTo>
                      <a:pt x="31" y="0"/>
                    </a:lnTo>
                    <a:lnTo>
                      <a:pt x="31" y="30"/>
                    </a:lnTo>
                    <a:lnTo>
                      <a:pt x="0" y="30"/>
                    </a:lnTo>
                    <a:lnTo>
                      <a:pt x="0" y="37"/>
                    </a:lnTo>
                    <a:close/>
                    <a:moveTo>
                      <a:pt x="145" y="44"/>
                    </a:moveTo>
                    <a:lnTo>
                      <a:pt x="121" y="44"/>
                    </a:lnTo>
                    <a:lnTo>
                      <a:pt x="121" y="21"/>
                    </a:lnTo>
                    <a:lnTo>
                      <a:pt x="145" y="44"/>
                    </a:lnTo>
                    <a:close/>
                    <a:moveTo>
                      <a:pt x="46" y="15"/>
                    </a:moveTo>
                    <a:lnTo>
                      <a:pt x="106" y="15"/>
                    </a:lnTo>
                    <a:lnTo>
                      <a:pt x="106" y="59"/>
                    </a:lnTo>
                    <a:lnTo>
                      <a:pt x="152" y="59"/>
                    </a:lnTo>
                    <a:lnTo>
                      <a:pt x="152" y="165"/>
                    </a:lnTo>
                    <a:lnTo>
                      <a:pt x="46" y="165"/>
                    </a:lnTo>
                    <a:lnTo>
                      <a:pt x="46" y="15"/>
                    </a:lnTo>
                    <a:close/>
                    <a:moveTo>
                      <a:pt x="121" y="180"/>
                    </a:moveTo>
                    <a:lnTo>
                      <a:pt x="121" y="195"/>
                    </a:lnTo>
                    <a:lnTo>
                      <a:pt x="15" y="195"/>
                    </a:lnTo>
                    <a:lnTo>
                      <a:pt x="15" y="44"/>
                    </a:lnTo>
                    <a:lnTo>
                      <a:pt x="31" y="44"/>
                    </a:lnTo>
                    <a:lnTo>
                      <a:pt x="31" y="180"/>
                    </a:lnTo>
                    <a:lnTo>
                      <a:pt x="121" y="1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2040" b="1" kern="0">
                  <a:latin typeface="+mj-lt"/>
                </a:endParaRPr>
              </a:p>
            </p:txBody>
          </p:sp>
        </p:grpSp>
        <p:pic>
          <p:nvPicPr>
            <p:cNvPr id="2056" name="Picture 8" descr="https://www.rishabhsoft.com/wp-content/uploads/2016/02/Azure-Container-Service.png">
              <a:extLst>
                <a:ext uri="{FF2B5EF4-FFF2-40B4-BE49-F238E27FC236}">
                  <a16:creationId xmlns:a16="http://schemas.microsoft.com/office/drawing/2014/main" id="{CFD93B39-7D8A-48B6-9E7E-7875023030C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58002" y="4272415"/>
              <a:ext cx="514678" cy="28019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982290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srcRect l="20120" r="20120"/>
          <a:stretch>
            <a:fillRect/>
          </a:stretch>
        </p:blipFill>
        <p:spPr/>
      </p:pic>
      <p:sp>
        <p:nvSpPr>
          <p:cNvPr id="6" name="Title 1"/>
          <p:cNvSpPr>
            <a:spLocks noGrp="1"/>
          </p:cNvSpPr>
          <p:nvPr>
            <p:ph type="title"/>
          </p:nvPr>
        </p:nvSpPr>
        <p:spPr>
          <a:xfrm>
            <a:off x="37644" y="296862"/>
            <a:ext cx="5867400" cy="1514261"/>
          </a:xfrm>
        </p:spPr>
        <p:txBody>
          <a:bodyPr/>
          <a:lstStyle/>
          <a:p>
            <a:r>
              <a:rPr lang="en-US" sz="4800"/>
              <a:t>Demonstration: </a:t>
            </a:r>
            <a:r>
              <a:rPr lang="en-US" sz="4800" i="1"/>
              <a:t>Azure Container Registry </a:t>
            </a:r>
            <a:endParaRPr lang="en-US" sz="4800" i="1">
              <a:solidFill>
                <a:schemeClr val="accent3"/>
              </a:solidFill>
            </a:endParaRPr>
          </a:p>
        </p:txBody>
      </p:sp>
      <p:sp>
        <p:nvSpPr>
          <p:cNvPr id="7" name="Title 1"/>
          <p:cNvSpPr txBox="1">
            <a:spLocks/>
          </p:cNvSpPr>
          <p:nvPr/>
        </p:nvSpPr>
        <p:spPr>
          <a:xfrm>
            <a:off x="228145" y="4064000"/>
            <a:ext cx="5237936" cy="4395049"/>
          </a:xfrm>
          <a:prstGeom prst="rect">
            <a:avLst/>
          </a:prstGeom>
        </p:spPr>
        <p:txBody>
          <a:bodyPr vert="horz" wrap="square" lIns="146304" tIns="91440" rIns="146304" bIns="91440" rtlCol="0" anchor="t">
            <a:spAutoFit/>
          </a:bodyPr>
          <a:lstStyle>
            <a:lvl1pPr algn="l" defTabSz="932742" rtl="0" eaLnBrk="1" latinLnBrk="0" hangingPunct="1">
              <a:lnSpc>
                <a:spcPct val="90000"/>
              </a:lnSpc>
              <a:spcBef>
                <a:spcPct val="0"/>
              </a:spcBef>
              <a:buNone/>
              <a:defRPr lang="en-US" sz="66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400">
              <a:solidFill>
                <a:schemeClr val="tx1"/>
              </a:solidFill>
            </a:endParaRPr>
          </a:p>
          <a:p>
            <a:endParaRPr lang="en-US" sz="4400">
              <a:solidFill>
                <a:schemeClr val="tx1"/>
              </a:solidFill>
            </a:endParaRPr>
          </a:p>
          <a:p>
            <a:r>
              <a:rPr lang="en-US" sz="3600">
                <a:solidFill>
                  <a:schemeClr val="tx1"/>
                </a:solidFill>
              </a:rPr>
              <a:t>Azure Container Registry Walkthrough</a:t>
            </a:r>
          </a:p>
          <a:p>
            <a:endParaRPr lang="en-US" sz="3600">
              <a:solidFill>
                <a:schemeClr val="tx1"/>
              </a:solidFill>
            </a:endParaRPr>
          </a:p>
          <a:p>
            <a:endParaRPr lang="en-US" sz="3600">
              <a:solidFill>
                <a:schemeClr val="tx1"/>
              </a:solidFill>
            </a:endParaRPr>
          </a:p>
          <a:p>
            <a:endParaRPr lang="en-US" sz="3600">
              <a:solidFill>
                <a:schemeClr val="tx1"/>
              </a:solidFill>
            </a:endParaRPr>
          </a:p>
          <a:p>
            <a:endParaRPr lang="en-US" sz="3600">
              <a:solidFill>
                <a:schemeClr val="tx1"/>
              </a:solidFill>
            </a:endParaRPr>
          </a:p>
        </p:txBody>
      </p:sp>
    </p:spTree>
    <p:extLst>
      <p:ext uri="{BB962C8B-B14F-4D97-AF65-F5344CB8AC3E}">
        <p14:creationId xmlns:p14="http://schemas.microsoft.com/office/powerpoint/2010/main" val="17307551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accent3"/>
                </a:solidFill>
              </a:rPr>
              <a:t>Azure DevOps Agents </a:t>
            </a:r>
            <a:endParaRPr lang="en-US"/>
          </a:p>
        </p:txBody>
      </p:sp>
      <p:sp>
        <p:nvSpPr>
          <p:cNvPr id="3" name="Content Placeholder 2"/>
          <p:cNvSpPr>
            <a:spLocks noGrp="1"/>
          </p:cNvSpPr>
          <p:nvPr>
            <p:ph idx="4294967295"/>
          </p:nvPr>
        </p:nvSpPr>
        <p:spPr>
          <a:xfrm>
            <a:off x="345111" y="1410072"/>
            <a:ext cx="11084890" cy="3877985"/>
          </a:xfrm>
          <a:prstGeom prst="rect">
            <a:avLst/>
          </a:prstGeom>
        </p:spPr>
        <p:txBody>
          <a:bodyPr/>
          <a:lstStyle/>
          <a:p>
            <a:pPr>
              <a:buFont typeface="Arial" charset="0"/>
              <a:buChar char="•"/>
            </a:pPr>
            <a:r>
              <a:rPr lang="en-US" sz="2400" b="1"/>
              <a:t>Agents</a:t>
            </a:r>
            <a:r>
              <a:rPr lang="en-US" sz="2400"/>
              <a:t>: To build your code or deploy your software you need at least one agent.  </a:t>
            </a:r>
          </a:p>
          <a:p>
            <a:pPr lvl="1"/>
            <a:r>
              <a:rPr lang="en-US">
                <a:latin typeface="+mj-lt"/>
              </a:rPr>
              <a:t>Private Agents :  More control to install dependent software needed for builds and deployments</a:t>
            </a:r>
          </a:p>
          <a:p>
            <a:pPr lvl="1"/>
            <a:r>
              <a:rPr lang="en-US">
                <a:latin typeface="+mj-lt"/>
              </a:rPr>
              <a:t>Hosted Agents:  Microsoft provides the agent and takes care of the maintenance and upgrades</a:t>
            </a:r>
          </a:p>
          <a:p>
            <a:endParaRPr lang="en-US" sz="2400"/>
          </a:p>
          <a:p>
            <a:pPr>
              <a:buFont typeface="Arial" charset="0"/>
              <a:buChar char="•"/>
            </a:pPr>
            <a:r>
              <a:rPr lang="en-US" sz="2400"/>
              <a:t>Linux Agents (Azure Pipeline / TFS 2017): https://docs.microsoft.com/en-us/azure/devops/pipelines/agents/v2-linux?view=vsts</a:t>
            </a:r>
          </a:p>
          <a:p>
            <a:pPr>
              <a:buFont typeface="Arial" charset="0"/>
              <a:buChar char="•"/>
            </a:pPr>
            <a:r>
              <a:rPr lang="en-US" sz="2400"/>
              <a:t>Windows Agents (Azure Pipeline / TFS 2017): https://docs.microsoft.com/en-us/azure/devops/pipelines/agents/v2-windows</a:t>
            </a:r>
            <a:endParaRPr lang="en-US" sz="3264"/>
          </a:p>
        </p:txBody>
      </p:sp>
      <p:pic>
        <p:nvPicPr>
          <p:cNvPr id="5" name="Picture 4">
            <a:extLst>
              <a:ext uri="{FF2B5EF4-FFF2-40B4-BE49-F238E27FC236}">
                <a16:creationId xmlns:a16="http://schemas.microsoft.com/office/drawing/2014/main" id="{E1857DC8-C926-4232-977C-9093F04122C8}"/>
              </a:ext>
            </a:extLst>
          </p:cNvPr>
          <p:cNvPicPr>
            <a:picLocks noChangeAspect="1"/>
          </p:cNvPicPr>
          <p:nvPr/>
        </p:nvPicPr>
        <p:blipFill>
          <a:blip r:embed="rId3"/>
          <a:stretch>
            <a:fillRect/>
          </a:stretch>
        </p:blipFill>
        <p:spPr>
          <a:xfrm>
            <a:off x="2680855" y="5762466"/>
            <a:ext cx="2976648" cy="936785"/>
          </a:xfrm>
          <a:prstGeom prst="rect">
            <a:avLst/>
          </a:prstGeom>
        </p:spPr>
      </p:pic>
      <p:pic>
        <p:nvPicPr>
          <p:cNvPr id="7" name="Picture 6">
            <a:extLst>
              <a:ext uri="{FF2B5EF4-FFF2-40B4-BE49-F238E27FC236}">
                <a16:creationId xmlns:a16="http://schemas.microsoft.com/office/drawing/2014/main" id="{6EA8062D-5318-4950-8689-3C0C25BF9A4C}"/>
              </a:ext>
            </a:extLst>
          </p:cNvPr>
          <p:cNvPicPr>
            <a:picLocks noChangeAspect="1"/>
          </p:cNvPicPr>
          <p:nvPr/>
        </p:nvPicPr>
        <p:blipFill>
          <a:blip r:embed="rId4"/>
          <a:stretch>
            <a:fillRect/>
          </a:stretch>
        </p:blipFill>
        <p:spPr>
          <a:xfrm>
            <a:off x="6218237" y="5753286"/>
            <a:ext cx="3233418" cy="936785"/>
          </a:xfrm>
          <a:prstGeom prst="rect">
            <a:avLst/>
          </a:prstGeom>
        </p:spPr>
      </p:pic>
    </p:spTree>
    <p:extLst>
      <p:ext uri="{BB962C8B-B14F-4D97-AF65-F5344CB8AC3E}">
        <p14:creationId xmlns:p14="http://schemas.microsoft.com/office/powerpoint/2010/main" val="39134023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accent3"/>
                </a:solidFill>
              </a:rPr>
              <a:t>Build Pipeline </a:t>
            </a:r>
            <a:endParaRPr lang="en-US"/>
          </a:p>
        </p:txBody>
      </p:sp>
      <p:sp>
        <p:nvSpPr>
          <p:cNvPr id="15" name="Content Placeholder 2"/>
          <p:cNvSpPr txBox="1">
            <a:spLocks/>
          </p:cNvSpPr>
          <p:nvPr/>
        </p:nvSpPr>
        <p:spPr>
          <a:xfrm>
            <a:off x="6492769" y="1693382"/>
            <a:ext cx="4556871"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US" sz="1800" b="1"/>
              <a:t>  Build for Multi-Container ASP.NET Core Application using Windows Containers </a:t>
            </a:r>
            <a:endParaRPr lang="en-US" sz="1600"/>
          </a:p>
        </p:txBody>
      </p:sp>
      <p:pic>
        <p:nvPicPr>
          <p:cNvPr id="4" name="Picture 3">
            <a:extLst>
              <a:ext uri="{FF2B5EF4-FFF2-40B4-BE49-F238E27FC236}">
                <a16:creationId xmlns:a16="http://schemas.microsoft.com/office/drawing/2014/main" id="{DEAC0252-7556-492D-AFCB-D126390AB463}"/>
              </a:ext>
            </a:extLst>
          </p:cNvPr>
          <p:cNvPicPr>
            <a:picLocks noChangeAspect="1"/>
          </p:cNvPicPr>
          <p:nvPr/>
        </p:nvPicPr>
        <p:blipFill rotWithShape="1">
          <a:blip r:embed="rId3"/>
          <a:srcRect b="2340"/>
          <a:stretch/>
        </p:blipFill>
        <p:spPr>
          <a:xfrm>
            <a:off x="1229206" y="2704780"/>
            <a:ext cx="4356846" cy="3204242"/>
          </a:xfrm>
          <a:prstGeom prst="rect">
            <a:avLst/>
          </a:prstGeom>
          <a:ln>
            <a:noFill/>
          </a:ln>
          <a:effectLst>
            <a:outerShdw blurRad="292100" dist="139700" dir="2700000" algn="tl" rotWithShape="0">
              <a:srgbClr val="333333">
                <a:alpha val="65000"/>
              </a:srgbClr>
            </a:outerShdw>
          </a:effectLst>
        </p:spPr>
      </p:pic>
      <p:sp>
        <p:nvSpPr>
          <p:cNvPr id="5" name="Content Placeholder 2">
            <a:extLst>
              <a:ext uri="{FF2B5EF4-FFF2-40B4-BE49-F238E27FC236}">
                <a16:creationId xmlns:a16="http://schemas.microsoft.com/office/drawing/2014/main" id="{CB75AC1F-22B2-4999-B176-900A14357A08}"/>
              </a:ext>
            </a:extLst>
          </p:cNvPr>
          <p:cNvSpPr txBox="1">
            <a:spLocks/>
          </p:cNvSpPr>
          <p:nvPr/>
        </p:nvSpPr>
        <p:spPr>
          <a:xfrm>
            <a:off x="1135717" y="1621351"/>
            <a:ext cx="4556871"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US" sz="1800" b="1"/>
              <a:t>  Build for Multi-Container ASP.NET Core Application using Linux Containers </a:t>
            </a:r>
            <a:endParaRPr lang="en-US" sz="1600"/>
          </a:p>
        </p:txBody>
      </p:sp>
      <p:pic>
        <p:nvPicPr>
          <p:cNvPr id="3" name="Picture 2">
            <a:extLst>
              <a:ext uri="{FF2B5EF4-FFF2-40B4-BE49-F238E27FC236}">
                <a16:creationId xmlns:a16="http://schemas.microsoft.com/office/drawing/2014/main" id="{CE5D1752-2E43-4F04-B6A8-F335D99185DE}"/>
              </a:ext>
            </a:extLst>
          </p:cNvPr>
          <p:cNvPicPr>
            <a:picLocks noChangeAspect="1"/>
          </p:cNvPicPr>
          <p:nvPr/>
        </p:nvPicPr>
        <p:blipFill>
          <a:blip r:embed="rId4"/>
          <a:stretch>
            <a:fillRect/>
          </a:stretch>
        </p:blipFill>
        <p:spPr>
          <a:xfrm>
            <a:off x="6850423" y="2704781"/>
            <a:ext cx="4356846" cy="32810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7798998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74702" y="2125677"/>
            <a:ext cx="6402388" cy="3657560"/>
          </a:xfrm>
        </p:spPr>
        <p:txBody>
          <a:bodyPr/>
          <a:lstStyle/>
          <a:p>
            <a:r>
              <a:rPr lang="en-US" sz="4000"/>
              <a:t>Module 6 – DevOps with Containers</a:t>
            </a:r>
            <a:endParaRPr lang="en-US" sz="3200" i="1"/>
          </a:p>
        </p:txBody>
      </p:sp>
    </p:spTree>
    <p:extLst>
      <p:ext uri="{BB962C8B-B14F-4D97-AF65-F5344CB8AC3E}">
        <p14:creationId xmlns:p14="http://schemas.microsoft.com/office/powerpoint/2010/main" val="132505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accent3"/>
                </a:solidFill>
              </a:rPr>
              <a:t>Continuous Integration Setting </a:t>
            </a:r>
            <a:endParaRPr lang="en-US"/>
          </a:p>
        </p:txBody>
      </p:sp>
      <p:sp>
        <p:nvSpPr>
          <p:cNvPr id="7" name="Content Placeholder 2"/>
          <p:cNvSpPr txBox="1">
            <a:spLocks/>
          </p:cNvSpPr>
          <p:nvPr/>
        </p:nvSpPr>
        <p:spPr>
          <a:xfrm>
            <a:off x="68051" y="5549472"/>
            <a:ext cx="3880801"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b="1"/>
              <a:t>Changes to a branch can trigger the build automatically </a:t>
            </a:r>
            <a:endParaRPr lang="en-US" sz="1800"/>
          </a:p>
        </p:txBody>
      </p:sp>
      <p:sp>
        <p:nvSpPr>
          <p:cNvPr id="8" name="Rectangle 7"/>
          <p:cNvSpPr/>
          <p:nvPr/>
        </p:nvSpPr>
        <p:spPr>
          <a:xfrm>
            <a:off x="8575040" y="4446952"/>
            <a:ext cx="2953173" cy="923330"/>
          </a:xfrm>
          <a:prstGeom prst="rect">
            <a:avLst/>
          </a:prstGeom>
        </p:spPr>
        <p:txBody>
          <a:bodyPr wrap="square">
            <a:spAutoFit/>
          </a:bodyPr>
          <a:lstStyle/>
          <a:p>
            <a:pPr algn="ctr"/>
            <a:r>
              <a:rPr lang="en-US">
                <a:latin typeface="+mj-lt"/>
              </a:rPr>
              <a:t>Schedule Build </a:t>
            </a:r>
          </a:p>
          <a:p>
            <a:pPr algn="ctr"/>
            <a:r>
              <a:rPr lang="en-US">
                <a:latin typeface="+mj-lt"/>
                <a:sym typeface="Wingdings"/>
              </a:rPr>
              <a:t>Example: Nightly/Daily </a:t>
            </a:r>
          </a:p>
          <a:p>
            <a:pPr algn="ctr"/>
            <a:endParaRPr lang="en-US">
              <a:latin typeface="+mj-lt"/>
            </a:endParaRPr>
          </a:p>
        </p:txBody>
      </p:sp>
      <p:sp>
        <p:nvSpPr>
          <p:cNvPr id="10" name="Rectangle 9"/>
          <p:cNvSpPr/>
          <p:nvPr/>
        </p:nvSpPr>
        <p:spPr>
          <a:xfrm>
            <a:off x="4213013" y="4908617"/>
            <a:ext cx="3305387" cy="615553"/>
          </a:xfrm>
          <a:prstGeom prst="rect">
            <a:avLst/>
          </a:prstGeom>
        </p:spPr>
        <p:txBody>
          <a:bodyPr wrap="square">
            <a:spAutoFit/>
          </a:bodyPr>
          <a:lstStyle/>
          <a:p>
            <a:r>
              <a:rPr lang="en-US" sz="1600">
                <a:latin typeface="+mj-lt"/>
              </a:rPr>
              <a:t>Build </a:t>
            </a:r>
            <a:r>
              <a:rPr lang="en-US" sz="1600">
                <a:latin typeface="+mj-lt"/>
                <a:sym typeface="Wingdings"/>
              </a:rPr>
              <a:t> Triggers  CI Enabled  </a:t>
            </a:r>
          </a:p>
          <a:p>
            <a:endParaRPr lang="en-US">
              <a:latin typeface="+mj-lt"/>
            </a:endParaRPr>
          </a:p>
        </p:txBody>
      </p:sp>
      <p:cxnSp>
        <p:nvCxnSpPr>
          <p:cNvPr id="12" name="Straight Connector 11"/>
          <p:cNvCxnSpPr/>
          <p:nvPr/>
        </p:nvCxnSpPr>
        <p:spPr>
          <a:xfrm flipH="1">
            <a:off x="7328263" y="1212849"/>
            <a:ext cx="7257" cy="5331642"/>
          </a:xfrm>
          <a:prstGeom prst="line">
            <a:avLst/>
          </a:prstGeom>
          <a:ln>
            <a:headEnd type="none"/>
            <a:tailEnd type="none"/>
          </a:ln>
        </p:spPr>
        <p:style>
          <a:lnRef idx="1">
            <a:schemeClr val="accent3"/>
          </a:lnRef>
          <a:fillRef idx="0">
            <a:schemeClr val="accent3"/>
          </a:fillRef>
          <a:effectRef idx="0">
            <a:schemeClr val="accent3"/>
          </a:effectRef>
          <a:fontRef idx="minor">
            <a:schemeClr val="tx1"/>
          </a:fontRef>
        </p:style>
      </p:cxnSp>
      <p:pic>
        <p:nvPicPr>
          <p:cNvPr id="6" name="Picture 5">
            <a:extLst>
              <a:ext uri="{FF2B5EF4-FFF2-40B4-BE49-F238E27FC236}">
                <a16:creationId xmlns:a16="http://schemas.microsoft.com/office/drawing/2014/main" id="{AA2BEC1C-21C7-43AC-8677-00DD90C386B6}"/>
              </a:ext>
            </a:extLst>
          </p:cNvPr>
          <p:cNvPicPr>
            <a:picLocks noChangeAspect="1"/>
          </p:cNvPicPr>
          <p:nvPr/>
        </p:nvPicPr>
        <p:blipFill>
          <a:blip r:embed="rId3"/>
          <a:stretch>
            <a:fillRect/>
          </a:stretch>
        </p:blipFill>
        <p:spPr>
          <a:xfrm>
            <a:off x="3853810" y="2703978"/>
            <a:ext cx="3422094" cy="2115044"/>
          </a:xfrm>
          <a:prstGeom prst="rect">
            <a:avLst/>
          </a:prstGeom>
          <a:solidFill>
            <a:schemeClr val="tx1">
              <a:lumMod val="50000"/>
            </a:schemeClr>
          </a:solidFill>
          <a:ln>
            <a:solidFill>
              <a:schemeClr val="tx1">
                <a:lumMod val="50000"/>
              </a:schemeClr>
            </a:solidFill>
          </a:ln>
        </p:spPr>
      </p:pic>
      <p:pic>
        <p:nvPicPr>
          <p:cNvPr id="13" name="Picture 12">
            <a:extLst>
              <a:ext uri="{FF2B5EF4-FFF2-40B4-BE49-F238E27FC236}">
                <a16:creationId xmlns:a16="http://schemas.microsoft.com/office/drawing/2014/main" id="{E2E69A30-AE15-4D83-94C9-F4138FE4FA5C}"/>
              </a:ext>
            </a:extLst>
          </p:cNvPr>
          <p:cNvPicPr>
            <a:picLocks noChangeAspect="1"/>
          </p:cNvPicPr>
          <p:nvPr/>
        </p:nvPicPr>
        <p:blipFill>
          <a:blip r:embed="rId4"/>
          <a:stretch>
            <a:fillRect/>
          </a:stretch>
        </p:blipFill>
        <p:spPr>
          <a:xfrm>
            <a:off x="7917181" y="1718244"/>
            <a:ext cx="4302962" cy="2728708"/>
          </a:xfrm>
          <a:prstGeom prst="rect">
            <a:avLst/>
          </a:prstGeom>
          <a:ln>
            <a:solidFill>
              <a:schemeClr val="tx1">
                <a:lumMod val="50000"/>
              </a:schemeClr>
            </a:solidFill>
          </a:ln>
        </p:spPr>
      </p:pic>
      <p:pic>
        <p:nvPicPr>
          <p:cNvPr id="3" name="Picture 2">
            <a:extLst>
              <a:ext uri="{FF2B5EF4-FFF2-40B4-BE49-F238E27FC236}">
                <a16:creationId xmlns:a16="http://schemas.microsoft.com/office/drawing/2014/main" id="{CDA7F6B1-04E1-4E0A-8076-85979022AD64}"/>
              </a:ext>
            </a:extLst>
          </p:cNvPr>
          <p:cNvPicPr>
            <a:picLocks noChangeAspect="1"/>
          </p:cNvPicPr>
          <p:nvPr/>
        </p:nvPicPr>
        <p:blipFill>
          <a:blip r:embed="rId5"/>
          <a:stretch>
            <a:fillRect/>
          </a:stretch>
        </p:blipFill>
        <p:spPr>
          <a:xfrm>
            <a:off x="117767" y="1461222"/>
            <a:ext cx="3566926" cy="3909060"/>
          </a:xfrm>
          <a:prstGeom prst="rect">
            <a:avLst/>
          </a:prstGeom>
          <a:solidFill>
            <a:schemeClr val="tx1">
              <a:lumMod val="50000"/>
            </a:schemeClr>
          </a:solidFill>
          <a:ln>
            <a:solidFill>
              <a:schemeClr val="tx1">
                <a:lumMod val="50000"/>
              </a:schemeClr>
            </a:solidFill>
          </a:ln>
        </p:spPr>
      </p:pic>
    </p:spTree>
    <p:extLst>
      <p:ext uri="{BB962C8B-B14F-4D97-AF65-F5344CB8AC3E}">
        <p14:creationId xmlns:p14="http://schemas.microsoft.com/office/powerpoint/2010/main" val="126879352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srcRect l="20120" r="20120"/>
          <a:stretch>
            <a:fillRect/>
          </a:stretch>
        </p:blipFill>
        <p:spPr/>
      </p:pic>
      <p:sp>
        <p:nvSpPr>
          <p:cNvPr id="6" name="Title 1"/>
          <p:cNvSpPr>
            <a:spLocks noGrp="1"/>
          </p:cNvSpPr>
          <p:nvPr>
            <p:ph type="title"/>
          </p:nvPr>
        </p:nvSpPr>
        <p:spPr>
          <a:xfrm>
            <a:off x="37644" y="296862"/>
            <a:ext cx="5867400" cy="1514261"/>
          </a:xfrm>
        </p:spPr>
        <p:txBody>
          <a:bodyPr/>
          <a:lstStyle/>
          <a:p>
            <a:r>
              <a:rPr lang="en-US" sz="4800"/>
              <a:t>Demonstration: </a:t>
            </a:r>
            <a:r>
              <a:rPr lang="en-US" sz="4800" i="1"/>
              <a:t>Build Pipeline</a:t>
            </a:r>
            <a:endParaRPr lang="en-US" sz="4800" i="1">
              <a:solidFill>
                <a:schemeClr val="accent3"/>
              </a:solidFill>
            </a:endParaRPr>
          </a:p>
        </p:txBody>
      </p:sp>
      <p:sp>
        <p:nvSpPr>
          <p:cNvPr id="7" name="Title 1"/>
          <p:cNvSpPr txBox="1">
            <a:spLocks/>
          </p:cNvSpPr>
          <p:nvPr/>
        </p:nvSpPr>
        <p:spPr>
          <a:xfrm>
            <a:off x="145221" y="3368738"/>
            <a:ext cx="5237936" cy="6943439"/>
          </a:xfrm>
          <a:prstGeom prst="rect">
            <a:avLst/>
          </a:prstGeom>
        </p:spPr>
        <p:txBody>
          <a:bodyPr vert="horz" wrap="square" lIns="146304" tIns="91440" rIns="146304" bIns="91440" rtlCol="0" anchor="t">
            <a:spAutoFit/>
          </a:bodyPr>
          <a:lstStyle>
            <a:lvl1pPr algn="l" defTabSz="932742" rtl="0" eaLnBrk="1" latinLnBrk="0" hangingPunct="1">
              <a:lnSpc>
                <a:spcPct val="90000"/>
              </a:lnSpc>
              <a:spcBef>
                <a:spcPct val="0"/>
              </a:spcBef>
              <a:buNone/>
              <a:defRPr lang="en-US" sz="66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800">
              <a:solidFill>
                <a:schemeClr val="tx1"/>
              </a:solidFill>
            </a:endParaRPr>
          </a:p>
          <a:p>
            <a:endParaRPr lang="en-US" sz="4800">
              <a:solidFill>
                <a:schemeClr val="tx1"/>
              </a:solidFill>
            </a:endParaRPr>
          </a:p>
          <a:p>
            <a:r>
              <a:rPr lang="en-US" sz="3600">
                <a:solidFill>
                  <a:schemeClr val="tx1"/>
                </a:solidFill>
              </a:rPr>
              <a:t>Build Pipeline for Multi-Container Application</a:t>
            </a:r>
          </a:p>
          <a:p>
            <a:r>
              <a:rPr lang="en-US" sz="4000">
                <a:solidFill>
                  <a:schemeClr val="tx1"/>
                </a:solidFill>
              </a:rPr>
              <a:t>  </a:t>
            </a:r>
          </a:p>
          <a:p>
            <a:endParaRPr lang="en-US" sz="4000">
              <a:solidFill>
                <a:schemeClr val="tx1"/>
              </a:solidFill>
            </a:endParaRPr>
          </a:p>
          <a:p>
            <a:endParaRPr lang="en-US" sz="4000">
              <a:solidFill>
                <a:schemeClr val="tx1"/>
              </a:solidFill>
            </a:endParaRPr>
          </a:p>
          <a:p>
            <a:endParaRPr lang="en-US" sz="4000">
              <a:solidFill>
                <a:schemeClr val="tx1"/>
              </a:solidFill>
            </a:endParaRPr>
          </a:p>
          <a:p>
            <a:endParaRPr lang="en-US" sz="4000">
              <a:solidFill>
                <a:schemeClr val="tx1"/>
              </a:solidFill>
            </a:endParaRPr>
          </a:p>
          <a:p>
            <a:endParaRPr lang="en-US" sz="4000">
              <a:solidFill>
                <a:schemeClr val="tx1"/>
              </a:solidFill>
            </a:endParaRPr>
          </a:p>
          <a:p>
            <a:endParaRPr lang="en-US" sz="4000">
              <a:solidFill>
                <a:schemeClr val="tx1"/>
              </a:solidFill>
            </a:endParaRPr>
          </a:p>
          <a:p>
            <a:endParaRPr lang="en-US" sz="4000">
              <a:solidFill>
                <a:schemeClr val="tx1"/>
              </a:solidFill>
            </a:endParaRPr>
          </a:p>
        </p:txBody>
      </p:sp>
    </p:spTree>
    <p:extLst>
      <p:ext uri="{BB962C8B-B14F-4D97-AF65-F5344CB8AC3E}">
        <p14:creationId xmlns:p14="http://schemas.microsoft.com/office/powerpoint/2010/main" val="106669438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accent3"/>
                </a:solidFill>
              </a:rPr>
              <a:t>Release Pipeline</a:t>
            </a:r>
            <a:endParaRPr lang="en-US"/>
          </a:p>
        </p:txBody>
      </p:sp>
      <p:sp>
        <p:nvSpPr>
          <p:cNvPr id="11" name="Content Placeholder 2"/>
          <p:cNvSpPr txBox="1">
            <a:spLocks/>
          </p:cNvSpPr>
          <p:nvPr/>
        </p:nvSpPr>
        <p:spPr>
          <a:xfrm>
            <a:off x="3595421" y="1927715"/>
            <a:ext cx="5245628" cy="43396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US" sz="1800" b="1"/>
              <a:t>Release pipeline for AKS | Kubernetes   </a:t>
            </a:r>
            <a:endParaRPr lang="en-US" sz="1600"/>
          </a:p>
        </p:txBody>
      </p:sp>
      <p:pic>
        <p:nvPicPr>
          <p:cNvPr id="4" name="Picture 3">
            <a:extLst>
              <a:ext uri="{FF2B5EF4-FFF2-40B4-BE49-F238E27FC236}">
                <a16:creationId xmlns:a16="http://schemas.microsoft.com/office/drawing/2014/main" id="{D39035DD-52BD-417A-B325-FB663D42542D}"/>
              </a:ext>
            </a:extLst>
          </p:cNvPr>
          <p:cNvPicPr>
            <a:picLocks noChangeAspect="1"/>
          </p:cNvPicPr>
          <p:nvPr/>
        </p:nvPicPr>
        <p:blipFill>
          <a:blip r:embed="rId3"/>
          <a:stretch>
            <a:fillRect/>
          </a:stretch>
        </p:blipFill>
        <p:spPr>
          <a:xfrm>
            <a:off x="2665853" y="2584885"/>
            <a:ext cx="7104765" cy="233513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9476758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accent3"/>
                </a:solidFill>
              </a:rPr>
              <a:t>Azure Pipeline Continuous Deployment Setting </a:t>
            </a:r>
            <a:endParaRPr lang="en-US"/>
          </a:p>
        </p:txBody>
      </p:sp>
      <p:sp>
        <p:nvSpPr>
          <p:cNvPr id="7" name="Content Placeholder 2"/>
          <p:cNvSpPr txBox="1">
            <a:spLocks/>
          </p:cNvSpPr>
          <p:nvPr/>
        </p:nvSpPr>
        <p:spPr>
          <a:xfrm>
            <a:off x="630239" y="4555158"/>
            <a:ext cx="3624261"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b="1"/>
              <a:t>Assign Build and select continuous deployment trigger</a:t>
            </a:r>
            <a:endParaRPr lang="en-US" sz="1800"/>
          </a:p>
        </p:txBody>
      </p:sp>
      <p:sp>
        <p:nvSpPr>
          <p:cNvPr id="8" name="Rectangle 7"/>
          <p:cNvSpPr/>
          <p:nvPr/>
        </p:nvSpPr>
        <p:spPr>
          <a:xfrm>
            <a:off x="4653389" y="4555158"/>
            <a:ext cx="2741756" cy="1200329"/>
          </a:xfrm>
          <a:prstGeom prst="rect">
            <a:avLst/>
          </a:prstGeom>
        </p:spPr>
        <p:txBody>
          <a:bodyPr wrap="square">
            <a:spAutoFit/>
          </a:bodyPr>
          <a:lstStyle/>
          <a:p>
            <a:pPr algn="ctr"/>
            <a:r>
              <a:rPr lang="en-US">
                <a:latin typeface="+mj-lt"/>
              </a:rPr>
              <a:t>Continuous Deployment on every successful Build  </a:t>
            </a:r>
            <a:br>
              <a:rPr lang="en-US">
                <a:latin typeface="+mj-lt"/>
              </a:rPr>
            </a:br>
            <a:r>
              <a:rPr lang="en-US">
                <a:latin typeface="+mj-lt"/>
              </a:rPr>
              <a:t> </a:t>
            </a:r>
            <a:endParaRPr lang="en-US">
              <a:latin typeface="+mj-lt"/>
              <a:sym typeface="Wingdings"/>
            </a:endParaRPr>
          </a:p>
          <a:p>
            <a:pPr algn="ctr"/>
            <a:endParaRPr lang="en-US">
              <a:latin typeface="+mj-lt"/>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707" y="2307259"/>
            <a:ext cx="7126499" cy="2120900"/>
          </a:xfrm>
          <a:prstGeom prst="rect">
            <a:avLst/>
          </a:prstGeom>
          <a:ln>
            <a:noFill/>
          </a:ln>
          <a:effectLst>
            <a:outerShdw blurRad="292100" dist="139700" dir="2700000" algn="tl" rotWithShape="0">
              <a:srgbClr val="333333">
                <a:alpha val="65000"/>
              </a:srgbClr>
            </a:outerShdw>
          </a:effectLst>
        </p:spPr>
      </p:pic>
      <p:cxnSp>
        <p:nvCxnSpPr>
          <p:cNvPr id="13" name="Straight Connector 12"/>
          <p:cNvCxnSpPr/>
          <p:nvPr/>
        </p:nvCxnSpPr>
        <p:spPr>
          <a:xfrm>
            <a:off x="8285318" y="1212849"/>
            <a:ext cx="48785" cy="5331642"/>
          </a:xfrm>
          <a:prstGeom prst="line">
            <a:avLst/>
          </a:prstGeom>
          <a:ln>
            <a:headEnd type="none"/>
            <a:tailEnd type="none"/>
          </a:ln>
        </p:spPr>
        <p:style>
          <a:lnRef idx="1">
            <a:schemeClr val="accent3"/>
          </a:lnRef>
          <a:fillRef idx="0">
            <a:schemeClr val="accent3"/>
          </a:fillRef>
          <a:effectRef idx="0">
            <a:schemeClr val="accent3"/>
          </a:effectRef>
          <a:fontRef idx="minor">
            <a:schemeClr val="tx1"/>
          </a:fontRef>
        </p:style>
      </p:cxnSp>
      <p:sp>
        <p:nvSpPr>
          <p:cNvPr id="15" name="Rectangle 14"/>
          <p:cNvSpPr/>
          <p:nvPr/>
        </p:nvSpPr>
        <p:spPr>
          <a:xfrm>
            <a:off x="8928959" y="4233618"/>
            <a:ext cx="2741756" cy="646331"/>
          </a:xfrm>
          <a:prstGeom prst="rect">
            <a:avLst/>
          </a:prstGeom>
        </p:spPr>
        <p:txBody>
          <a:bodyPr wrap="square">
            <a:spAutoFit/>
          </a:bodyPr>
          <a:lstStyle/>
          <a:p>
            <a:pPr algn="ctr"/>
            <a:r>
              <a:rPr lang="en-US">
                <a:latin typeface="+mj-lt"/>
              </a:rPr>
              <a:t>On-Demand Release Kickoff</a:t>
            </a:r>
            <a:endParaRPr lang="en-US">
              <a:latin typeface="+mj-lt"/>
              <a:sym typeface="Wingdings"/>
            </a:endParaRPr>
          </a:p>
          <a:p>
            <a:pPr algn="ctr"/>
            <a:endParaRPr lang="en-US">
              <a:latin typeface="+mj-lt"/>
            </a:endParaRPr>
          </a:p>
        </p:txBody>
      </p:sp>
      <p:pic>
        <p:nvPicPr>
          <p:cNvPr id="3" name="Picture 2">
            <a:extLst>
              <a:ext uri="{FF2B5EF4-FFF2-40B4-BE49-F238E27FC236}">
                <a16:creationId xmlns:a16="http://schemas.microsoft.com/office/drawing/2014/main" id="{FC6EBF13-8021-4541-A16B-6E105820EFAE}"/>
              </a:ext>
            </a:extLst>
          </p:cNvPr>
          <p:cNvPicPr>
            <a:picLocks noChangeAspect="1"/>
          </p:cNvPicPr>
          <p:nvPr/>
        </p:nvPicPr>
        <p:blipFill>
          <a:blip r:embed="rId4"/>
          <a:stretch>
            <a:fillRect/>
          </a:stretch>
        </p:blipFill>
        <p:spPr>
          <a:xfrm>
            <a:off x="8598547" y="2610346"/>
            <a:ext cx="3402580" cy="120650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54554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srcRect l="20120" r="20120"/>
          <a:stretch>
            <a:fillRect/>
          </a:stretch>
        </p:blipFill>
        <p:spPr/>
      </p:pic>
      <p:sp>
        <p:nvSpPr>
          <p:cNvPr id="6" name="Title 1"/>
          <p:cNvSpPr>
            <a:spLocks noGrp="1"/>
          </p:cNvSpPr>
          <p:nvPr>
            <p:ph type="title"/>
          </p:nvPr>
        </p:nvSpPr>
        <p:spPr>
          <a:xfrm>
            <a:off x="37644" y="296862"/>
            <a:ext cx="6337756" cy="1514261"/>
          </a:xfrm>
        </p:spPr>
        <p:txBody>
          <a:bodyPr/>
          <a:lstStyle/>
          <a:p>
            <a:r>
              <a:rPr lang="en-US" sz="4800"/>
              <a:t>Demonstration: </a:t>
            </a:r>
            <a:r>
              <a:rPr lang="en-US" sz="4800" i="1"/>
              <a:t>Release</a:t>
            </a:r>
            <a:br>
              <a:rPr lang="en-US" sz="4800" i="1"/>
            </a:br>
            <a:r>
              <a:rPr lang="en-US" sz="4800" i="1"/>
              <a:t>Pipeline</a:t>
            </a:r>
            <a:endParaRPr lang="en-US" sz="4800" i="1">
              <a:solidFill>
                <a:schemeClr val="accent3"/>
              </a:solidFill>
            </a:endParaRPr>
          </a:p>
        </p:txBody>
      </p:sp>
      <p:sp>
        <p:nvSpPr>
          <p:cNvPr id="7" name="Title 1"/>
          <p:cNvSpPr txBox="1">
            <a:spLocks/>
          </p:cNvSpPr>
          <p:nvPr/>
        </p:nvSpPr>
        <p:spPr>
          <a:xfrm>
            <a:off x="587554" y="2600898"/>
            <a:ext cx="5237936" cy="3508653"/>
          </a:xfrm>
          <a:prstGeom prst="rect">
            <a:avLst/>
          </a:prstGeom>
        </p:spPr>
        <p:txBody>
          <a:bodyPr vert="horz" wrap="square" lIns="146304" tIns="91440" rIns="146304" bIns="91440" rtlCol="0" anchor="t">
            <a:spAutoFit/>
          </a:bodyPr>
          <a:lstStyle>
            <a:lvl1pPr algn="l" defTabSz="932742" rtl="0" eaLnBrk="1" latinLnBrk="0" hangingPunct="1">
              <a:lnSpc>
                <a:spcPct val="90000"/>
              </a:lnSpc>
              <a:spcBef>
                <a:spcPct val="0"/>
              </a:spcBef>
              <a:buNone/>
              <a:defRPr lang="en-US" sz="66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800">
              <a:solidFill>
                <a:schemeClr val="tx1"/>
              </a:solidFill>
            </a:endParaRPr>
          </a:p>
          <a:p>
            <a:endParaRPr lang="en-US" sz="4800">
              <a:solidFill>
                <a:schemeClr val="tx1"/>
              </a:solidFill>
            </a:endParaRPr>
          </a:p>
          <a:p>
            <a:r>
              <a:rPr lang="en-US" sz="3600">
                <a:solidFill>
                  <a:schemeClr val="tx1"/>
                </a:solidFill>
              </a:rPr>
              <a:t>Release Pipeline for AKS</a:t>
            </a:r>
          </a:p>
          <a:p>
            <a:endParaRPr lang="en-US" sz="3600">
              <a:solidFill>
                <a:schemeClr val="tx1"/>
              </a:solidFill>
            </a:endParaRPr>
          </a:p>
          <a:p>
            <a:r>
              <a:rPr lang="en-US" sz="3600">
                <a:solidFill>
                  <a:schemeClr val="tx1"/>
                </a:solidFill>
              </a:rPr>
              <a:t>Continuous Deployment Setting </a:t>
            </a:r>
            <a:endParaRPr lang="en-US" sz="4000">
              <a:solidFill>
                <a:schemeClr val="tx1"/>
              </a:solidFill>
            </a:endParaRPr>
          </a:p>
        </p:txBody>
      </p:sp>
    </p:spTree>
    <p:extLst>
      <p:ext uri="{BB962C8B-B14F-4D97-AF65-F5344CB8AC3E}">
        <p14:creationId xmlns:p14="http://schemas.microsoft.com/office/powerpoint/2010/main" val="147316587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srcRect l="20383" r="20383"/>
          <a:stretch>
            <a:fillRect/>
          </a:stretch>
        </p:blipFill>
        <p:spPr>
          <a:xfrm>
            <a:off x="6986587" y="0"/>
            <a:ext cx="5449887" cy="6992587"/>
          </a:xfrm>
        </p:spPr>
      </p:pic>
      <p:sp>
        <p:nvSpPr>
          <p:cNvPr id="6" name="Title 1"/>
          <p:cNvSpPr>
            <a:spLocks noGrp="1"/>
          </p:cNvSpPr>
          <p:nvPr>
            <p:ph type="title"/>
          </p:nvPr>
        </p:nvSpPr>
        <p:spPr>
          <a:xfrm>
            <a:off x="186933" y="1982032"/>
            <a:ext cx="5867400" cy="683264"/>
          </a:xfrm>
        </p:spPr>
        <p:txBody>
          <a:bodyPr/>
          <a:lstStyle/>
          <a:p>
            <a:r>
              <a:rPr lang="en-US" sz="3600"/>
              <a:t>Lab 6: </a:t>
            </a:r>
            <a:r>
              <a:rPr lang="en-US" sz="3600">
                <a:solidFill>
                  <a:schemeClr val="accent3"/>
                </a:solidFill>
              </a:rPr>
              <a:t>DevOps with Containers</a:t>
            </a:r>
          </a:p>
        </p:txBody>
      </p:sp>
      <p:sp>
        <p:nvSpPr>
          <p:cNvPr id="7" name="Title 1">
            <a:extLst>
              <a:ext uri="{FF2B5EF4-FFF2-40B4-BE49-F238E27FC236}">
                <a16:creationId xmlns:a16="http://schemas.microsoft.com/office/drawing/2014/main" id="{B0F4F1AF-ED4D-4503-9CFE-8DECB6DA95FE}"/>
              </a:ext>
            </a:extLst>
          </p:cNvPr>
          <p:cNvSpPr txBox="1">
            <a:spLocks/>
          </p:cNvSpPr>
          <p:nvPr/>
        </p:nvSpPr>
        <p:spPr>
          <a:xfrm>
            <a:off x="269679" y="0"/>
            <a:ext cx="5867400" cy="1181862"/>
          </a:xfrm>
          <a:prstGeom prst="rect">
            <a:avLst/>
          </a:prstGeom>
        </p:spPr>
        <p:txBody>
          <a:bodyPr vert="horz" wrap="square" lIns="146304" tIns="91440" rIns="146304" bIns="91440" rtlCol="0" anchor="t">
            <a:spAutoFit/>
          </a:bodyPr>
          <a:lstStyle>
            <a:lvl1pPr algn="l" defTabSz="932742" rtl="0" eaLnBrk="1" latinLnBrk="0" hangingPunct="1">
              <a:lnSpc>
                <a:spcPct val="90000"/>
              </a:lnSpc>
              <a:spcBef>
                <a:spcPct val="0"/>
              </a:spcBef>
              <a:buNone/>
              <a:defRPr lang="en-US" sz="66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US" sz="7200" b="0" i="0" u="none" strike="noStrike" kern="1200" cap="none" spc="-102"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Labs</a:t>
            </a:r>
            <a:endParaRPr kumimoji="0" lang="en-US" sz="7200" b="0" i="0" u="none" strike="noStrike" kern="1200" cap="none" spc="-102" normalizeH="0" baseline="0" noProof="0">
              <a:ln w="3175">
                <a:noFill/>
              </a:ln>
              <a:solidFill>
                <a:srgbClr val="0078D7"/>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45920118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188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accent3"/>
                </a:solidFill>
              </a:rPr>
              <a:t>Other CI/CD Walkthroughs in Jenkins</a:t>
            </a:r>
            <a:endParaRPr lang="en-US"/>
          </a:p>
        </p:txBody>
      </p:sp>
      <p:sp>
        <p:nvSpPr>
          <p:cNvPr id="3" name="Content Placeholder 2"/>
          <p:cNvSpPr>
            <a:spLocks noGrp="1"/>
          </p:cNvSpPr>
          <p:nvPr>
            <p:ph idx="4294967295"/>
          </p:nvPr>
        </p:nvSpPr>
        <p:spPr>
          <a:xfrm>
            <a:off x="341423" y="1932821"/>
            <a:ext cx="11755996" cy="3243965"/>
          </a:xfrm>
          <a:prstGeom prst="rect">
            <a:avLst/>
          </a:prstGeom>
        </p:spPr>
        <p:txBody>
          <a:bodyPr/>
          <a:lstStyle/>
          <a:p>
            <a:pPr marL="0" indent="0">
              <a:buNone/>
            </a:pPr>
            <a:r>
              <a:rPr lang="en-US" sz="2800" b="1"/>
              <a:t>CI/CD with deployment in AKS</a:t>
            </a:r>
          </a:p>
          <a:p>
            <a:r>
              <a:rPr lang="en-US" sz="2800" b="1"/>
              <a:t> </a:t>
            </a:r>
            <a:r>
              <a:rPr lang="en-US" sz="2800">
                <a:hlinkClick r:id="rId3"/>
              </a:rPr>
              <a:t>https://docs.microsoft.com/en-us/azure/aks/jenkins-continuous-deployment</a:t>
            </a:r>
            <a:r>
              <a:rPr lang="en-US" sz="2800"/>
              <a:t> </a:t>
            </a:r>
          </a:p>
          <a:p>
            <a:pPr marL="0" indent="0">
              <a:buNone/>
            </a:pPr>
            <a:endParaRPr lang="en-US" sz="2800" b="1"/>
          </a:p>
          <a:p>
            <a:pPr marL="0" indent="0">
              <a:buNone/>
            </a:pPr>
            <a:r>
              <a:rPr lang="en-US" sz="2800" b="1"/>
              <a:t>CI/CD with deployment in Service Fabric (Linux)</a:t>
            </a:r>
          </a:p>
          <a:p>
            <a:r>
              <a:rPr lang="en-US" sz="2800">
                <a:hlinkClick r:id="rId4"/>
              </a:rPr>
              <a:t>https://docs.microsoft.com/en-us/azure/service-fabric/service-fabric-cicd-your-linux-applications-with-jenkins</a:t>
            </a:r>
            <a:r>
              <a:rPr lang="en-US" sz="2800"/>
              <a:t> </a:t>
            </a:r>
            <a:r>
              <a:rPr lang="en-US" sz="2800" b="1"/>
              <a:t> </a:t>
            </a:r>
          </a:p>
        </p:txBody>
      </p:sp>
    </p:spTree>
    <p:extLst>
      <p:ext uri="{BB962C8B-B14F-4D97-AF65-F5344CB8AC3E}">
        <p14:creationId xmlns:p14="http://schemas.microsoft.com/office/powerpoint/2010/main" val="202047955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Title 1"/>
          <p:cNvSpPr>
            <a:spLocks noGrp="1"/>
          </p:cNvSpPr>
          <p:nvPr>
            <p:ph type="title"/>
          </p:nvPr>
        </p:nvSpPr>
        <p:spPr/>
        <p:txBody>
          <a:bodyPr vert="horz" lIns="91440" tIns="45720" rIns="91440" bIns="45720" rtlCol="0" anchor="b">
            <a:normAutofit/>
          </a:bodyPr>
          <a:lstStyle/>
          <a:p>
            <a:pPr defTabSz="914400"/>
            <a:r>
              <a:rPr lang="en-US">
                <a:solidFill>
                  <a:schemeClr val="accent3"/>
                </a:solidFill>
              </a:rPr>
              <a:t>Inner-Loop Development</a:t>
            </a:r>
          </a:p>
        </p:txBody>
      </p:sp>
      <p:pic>
        <p:nvPicPr>
          <p:cNvPr id="4" name="Picture 3" descr="A screenshot of a cell phone&#10;&#10;Description automatically generated">
            <a:hlinkClick r:id="rId3" action="ppaction://hlinksldjump"/>
            <a:extLst>
              <a:ext uri="{FF2B5EF4-FFF2-40B4-BE49-F238E27FC236}">
                <a16:creationId xmlns:a16="http://schemas.microsoft.com/office/drawing/2014/main" id="{04976718-99E9-47DA-B982-E72A851DC51F}"/>
              </a:ext>
            </a:extLst>
          </p:cNvPr>
          <p:cNvPicPr>
            <a:picLocks noChangeAspect="1"/>
          </p:cNvPicPr>
          <p:nvPr/>
        </p:nvPicPr>
        <p:blipFill>
          <a:blip r:embed="rId4"/>
          <a:stretch>
            <a:fillRect/>
          </a:stretch>
        </p:blipFill>
        <p:spPr>
          <a:xfrm>
            <a:off x="1542115" y="1940057"/>
            <a:ext cx="9352243" cy="4302032"/>
          </a:xfrm>
          <a:prstGeom prst="rect">
            <a:avLst/>
          </a:prstGeom>
        </p:spPr>
      </p:pic>
    </p:spTree>
    <p:extLst>
      <p:ext uri="{BB962C8B-B14F-4D97-AF65-F5344CB8AC3E}">
        <p14:creationId xmlns:p14="http://schemas.microsoft.com/office/powerpoint/2010/main" val="255778243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03F042-FB53-4A31-A40F-15D5370819CF}"/>
              </a:ext>
            </a:extLst>
          </p:cNvPr>
          <p:cNvSpPr>
            <a:spLocks noGrp="1"/>
          </p:cNvSpPr>
          <p:nvPr>
            <p:ph type="body" sz="quarter" idx="10"/>
          </p:nvPr>
        </p:nvSpPr>
        <p:spPr>
          <a:xfrm>
            <a:off x="274638" y="1212850"/>
            <a:ext cx="11887200" cy="1680460"/>
          </a:xfrm>
        </p:spPr>
        <p:txBody>
          <a:bodyPr/>
          <a:lstStyle/>
          <a:p>
            <a:r>
              <a:rPr lang="en-US">
                <a:hlinkClick r:id="rId2"/>
              </a:rPr>
              <a:t>https://cloudblogs.microsoft.com/opensource/2018/11/27/tutorial-azure-devops-setup-cicd-pipeline-kubernetes-docker-helm/</a:t>
            </a:r>
            <a:endParaRPr lang="en-US"/>
          </a:p>
        </p:txBody>
      </p:sp>
      <p:sp>
        <p:nvSpPr>
          <p:cNvPr id="3" name="Title 2">
            <a:extLst>
              <a:ext uri="{FF2B5EF4-FFF2-40B4-BE49-F238E27FC236}">
                <a16:creationId xmlns:a16="http://schemas.microsoft.com/office/drawing/2014/main" id="{ACCB5B80-BD75-468C-95C7-59968712DCA9}"/>
              </a:ext>
            </a:extLst>
          </p:cNvPr>
          <p:cNvSpPr>
            <a:spLocks noGrp="1"/>
          </p:cNvSpPr>
          <p:nvPr>
            <p:ph type="title"/>
          </p:nvPr>
        </p:nvSpPr>
        <p:spPr/>
        <p:txBody>
          <a:bodyPr/>
          <a:lstStyle/>
          <a:p>
            <a:r>
              <a:rPr lang="en-US"/>
              <a:t>Additional resources</a:t>
            </a:r>
          </a:p>
        </p:txBody>
      </p:sp>
    </p:spTree>
    <p:extLst>
      <p:ext uri="{BB962C8B-B14F-4D97-AF65-F5344CB8AC3E}">
        <p14:creationId xmlns:p14="http://schemas.microsoft.com/office/powerpoint/2010/main" val="42494174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636855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3730252"/>
          </a:xfrm>
        </p:spPr>
        <p:txBody>
          <a:bodyPr/>
          <a:lstStyle/>
          <a:p>
            <a:pPr fontAlgn="base"/>
            <a:r>
              <a:rPr lang="en-US" dirty="0"/>
              <a:t>Container DevOps value proposition</a:t>
            </a:r>
          </a:p>
          <a:p>
            <a:pPr fontAlgn="base"/>
            <a:r>
              <a:rPr lang="en-US" dirty="0"/>
              <a:t>What is DevOps?</a:t>
            </a:r>
          </a:p>
          <a:p>
            <a:pPr fontAlgn="base"/>
            <a:r>
              <a:rPr lang="en-US" dirty="0"/>
              <a:t>Azure DevOps overview  ​</a:t>
            </a:r>
          </a:p>
          <a:p>
            <a:pPr fontAlgn="base"/>
            <a:r>
              <a:rPr lang="en-US" dirty="0"/>
              <a:t>Containerized Workflow Pipeline ​</a:t>
            </a:r>
          </a:p>
          <a:p>
            <a:pPr fontAlgn="base"/>
            <a:r>
              <a:rPr lang="en-US" dirty="0"/>
              <a:t>Azure DevOps: Continuous Integration ​- Windows/Linux</a:t>
            </a:r>
          </a:p>
          <a:p>
            <a:pPr fontAlgn="base"/>
            <a:r>
              <a:rPr lang="en-US" dirty="0"/>
              <a:t>Azure DevOps: Continuous Deployment - SF/AKS​</a:t>
            </a:r>
          </a:p>
        </p:txBody>
      </p:sp>
      <p:sp>
        <p:nvSpPr>
          <p:cNvPr id="2" name="Title 1"/>
          <p:cNvSpPr>
            <a:spLocks noGrp="1"/>
          </p:cNvSpPr>
          <p:nvPr>
            <p:ph type="title"/>
          </p:nvPr>
        </p:nvSpPr>
        <p:spPr/>
        <p:txBody>
          <a:bodyPr/>
          <a:lstStyle/>
          <a:p>
            <a:r>
              <a:rPr lang="en-US">
                <a:solidFill>
                  <a:schemeClr val="accent3"/>
                </a:solidFill>
              </a:rPr>
              <a:t>Agenda</a:t>
            </a:r>
            <a:endParaRPr lang="en-US" sz="4000">
              <a:solidFill>
                <a:schemeClr val="accent3"/>
              </a:solidFill>
            </a:endParaRPr>
          </a:p>
        </p:txBody>
      </p:sp>
    </p:spTree>
    <p:extLst>
      <p:ext uri="{BB962C8B-B14F-4D97-AF65-F5344CB8AC3E}">
        <p14:creationId xmlns:p14="http://schemas.microsoft.com/office/powerpoint/2010/main" val="358193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59036-7F77-4D30-8E51-7F95F095B9F7}"/>
              </a:ext>
            </a:extLst>
          </p:cNvPr>
          <p:cNvSpPr>
            <a:spLocks noGrp="1"/>
          </p:cNvSpPr>
          <p:nvPr>
            <p:ph type="title"/>
          </p:nvPr>
        </p:nvSpPr>
        <p:spPr/>
        <p:txBody>
          <a:bodyPr/>
          <a:lstStyle/>
          <a:p>
            <a:r>
              <a:rPr lang="en-US">
                <a:solidFill>
                  <a:schemeClr val="accent3"/>
                </a:solidFill>
              </a:rPr>
              <a:t>Software innovation collision</a:t>
            </a:r>
          </a:p>
        </p:txBody>
      </p:sp>
      <p:sp>
        <p:nvSpPr>
          <p:cNvPr id="10" name="TextBox 9">
            <a:extLst>
              <a:ext uri="{FF2B5EF4-FFF2-40B4-BE49-F238E27FC236}">
                <a16:creationId xmlns:a16="http://schemas.microsoft.com/office/drawing/2014/main" id="{D4142BE4-B8B3-441B-A053-4EEBC454B37E}"/>
              </a:ext>
            </a:extLst>
          </p:cNvPr>
          <p:cNvSpPr txBox="1"/>
          <p:nvPr/>
        </p:nvSpPr>
        <p:spPr>
          <a:xfrm>
            <a:off x="5185712" y="3532975"/>
            <a:ext cx="2065050" cy="855346"/>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2000" b="1">
                <a:solidFill>
                  <a:schemeClr val="tx2"/>
                </a:solidFill>
                <a:latin typeface="Segoe UI"/>
              </a:rPr>
              <a:t>Better Software</a:t>
            </a:r>
          </a:p>
        </p:txBody>
      </p:sp>
      <p:sp>
        <p:nvSpPr>
          <p:cNvPr id="4" name="Rectangle 3">
            <a:extLst>
              <a:ext uri="{FF2B5EF4-FFF2-40B4-BE49-F238E27FC236}">
                <a16:creationId xmlns:a16="http://schemas.microsoft.com/office/drawing/2014/main" id="{2267E8C8-6D7E-465E-9115-5D8CDEB69CD7}"/>
              </a:ext>
            </a:extLst>
          </p:cNvPr>
          <p:cNvSpPr/>
          <p:nvPr/>
        </p:nvSpPr>
        <p:spPr>
          <a:xfrm>
            <a:off x="403706" y="3370351"/>
            <a:ext cx="3589338" cy="1200329"/>
          </a:xfrm>
          <a:prstGeom prst="rect">
            <a:avLst/>
          </a:prstGeom>
        </p:spPr>
        <p:txBody>
          <a:bodyPr wrap="square">
            <a:spAutoFit/>
          </a:bodyPr>
          <a:lstStyle/>
          <a:p>
            <a:pPr algn="ctr" defTabSz="951028" fontAlgn="base">
              <a:lnSpc>
                <a:spcPct val="90000"/>
              </a:lnSpc>
              <a:spcBef>
                <a:spcPct val="0"/>
              </a:spcBef>
              <a:spcAft>
                <a:spcPct val="0"/>
              </a:spcAft>
            </a:pPr>
            <a:r>
              <a:rPr lang="en-US" sz="2000" b="1">
                <a:solidFill>
                  <a:schemeClr val="tx2"/>
                </a:solidFill>
                <a:ea typeface="Segoe UI" pitchFamily="34" charset="0"/>
                <a:cs typeface="Segoe UI" pitchFamily="34" charset="0"/>
              </a:rPr>
              <a:t>DevOps</a:t>
            </a:r>
          </a:p>
          <a:p>
            <a:pPr algn="ctr" defTabSz="951028" fontAlgn="base">
              <a:lnSpc>
                <a:spcPct val="90000"/>
              </a:lnSpc>
              <a:spcBef>
                <a:spcPct val="0"/>
              </a:spcBef>
              <a:spcAft>
                <a:spcPct val="0"/>
              </a:spcAft>
            </a:pPr>
            <a:r>
              <a:rPr lang="en-US" sz="2000">
                <a:solidFill>
                  <a:schemeClr val="tx2"/>
                </a:solidFill>
                <a:ea typeface="Segoe UI" pitchFamily="34" charset="0"/>
                <a:cs typeface="Segoe UI" pitchFamily="34" charset="0"/>
              </a:rPr>
              <a:t>Optimizing how applications are built, delivered and managed</a:t>
            </a:r>
          </a:p>
        </p:txBody>
      </p:sp>
      <p:sp>
        <p:nvSpPr>
          <p:cNvPr id="5" name="Rectangle 4">
            <a:extLst>
              <a:ext uri="{FF2B5EF4-FFF2-40B4-BE49-F238E27FC236}">
                <a16:creationId xmlns:a16="http://schemas.microsoft.com/office/drawing/2014/main" id="{B856FDBA-A68E-4952-9654-D23577E56A72}"/>
              </a:ext>
            </a:extLst>
          </p:cNvPr>
          <p:cNvSpPr/>
          <p:nvPr/>
        </p:nvSpPr>
        <p:spPr>
          <a:xfrm>
            <a:off x="3109912" y="1624290"/>
            <a:ext cx="6216650" cy="646331"/>
          </a:xfrm>
          <a:prstGeom prst="rect">
            <a:avLst/>
          </a:prstGeom>
        </p:spPr>
        <p:txBody>
          <a:bodyPr>
            <a:spAutoFit/>
          </a:bodyPr>
          <a:lstStyle/>
          <a:p>
            <a:pPr algn="ctr" defTabSz="951028" fontAlgn="base">
              <a:lnSpc>
                <a:spcPct val="90000"/>
              </a:lnSpc>
              <a:spcBef>
                <a:spcPct val="0"/>
              </a:spcBef>
              <a:spcAft>
                <a:spcPct val="0"/>
              </a:spcAft>
            </a:pPr>
            <a:r>
              <a:rPr lang="en-US" sz="2000" b="1">
                <a:solidFill>
                  <a:schemeClr val="tx2"/>
                </a:solidFill>
                <a:ea typeface="Segoe UI" pitchFamily="34" charset="0"/>
                <a:cs typeface="Segoe UI" pitchFamily="34" charset="0"/>
              </a:rPr>
              <a:t>Containers</a:t>
            </a:r>
          </a:p>
          <a:p>
            <a:pPr algn="ctr" defTabSz="951028" fontAlgn="base">
              <a:lnSpc>
                <a:spcPct val="90000"/>
              </a:lnSpc>
              <a:spcBef>
                <a:spcPct val="0"/>
              </a:spcBef>
              <a:spcAft>
                <a:spcPct val="0"/>
              </a:spcAft>
            </a:pPr>
            <a:r>
              <a:rPr lang="en-US" sz="2000">
                <a:solidFill>
                  <a:schemeClr val="tx2"/>
                </a:solidFill>
                <a:ea typeface="Segoe UI" pitchFamily="34" charset="0"/>
                <a:cs typeface="Segoe UI" pitchFamily="34" charset="0"/>
              </a:rPr>
              <a:t>Standardization of the application packaging</a:t>
            </a:r>
            <a:endParaRPr lang="en-US" sz="2000">
              <a:solidFill>
                <a:schemeClr val="tx2"/>
              </a:solidFill>
            </a:endParaRPr>
          </a:p>
        </p:txBody>
      </p:sp>
      <p:sp>
        <p:nvSpPr>
          <p:cNvPr id="15" name="Rectangle 14">
            <a:extLst>
              <a:ext uri="{FF2B5EF4-FFF2-40B4-BE49-F238E27FC236}">
                <a16:creationId xmlns:a16="http://schemas.microsoft.com/office/drawing/2014/main" id="{C4EB95A4-E5DF-43DA-BEC4-37B9B29D3EA5}"/>
              </a:ext>
            </a:extLst>
          </p:cNvPr>
          <p:cNvSpPr/>
          <p:nvPr/>
        </p:nvSpPr>
        <p:spPr>
          <a:xfrm>
            <a:off x="8443430" y="3426523"/>
            <a:ext cx="3589338" cy="923330"/>
          </a:xfrm>
          <a:prstGeom prst="rect">
            <a:avLst/>
          </a:prstGeom>
        </p:spPr>
        <p:txBody>
          <a:bodyPr wrap="square">
            <a:spAutoFit/>
          </a:bodyPr>
          <a:lstStyle/>
          <a:p>
            <a:pPr algn="ctr" defTabSz="951028" fontAlgn="base">
              <a:lnSpc>
                <a:spcPct val="90000"/>
              </a:lnSpc>
              <a:spcBef>
                <a:spcPct val="0"/>
              </a:spcBef>
              <a:spcAft>
                <a:spcPct val="0"/>
              </a:spcAft>
            </a:pPr>
            <a:r>
              <a:rPr lang="en-US" sz="2000" b="1">
                <a:solidFill>
                  <a:schemeClr val="tx2"/>
                </a:solidFill>
                <a:ea typeface="Segoe UI" pitchFamily="34" charset="0"/>
                <a:cs typeface="Segoe UI" pitchFamily="34" charset="0"/>
              </a:rPr>
              <a:t>Microservices</a:t>
            </a:r>
          </a:p>
          <a:p>
            <a:pPr algn="ctr" defTabSz="951028" fontAlgn="base">
              <a:lnSpc>
                <a:spcPct val="90000"/>
              </a:lnSpc>
              <a:spcBef>
                <a:spcPct val="0"/>
              </a:spcBef>
              <a:spcAft>
                <a:spcPct val="0"/>
              </a:spcAft>
            </a:pPr>
            <a:r>
              <a:rPr lang="en-US" sz="2000">
                <a:solidFill>
                  <a:schemeClr val="tx2"/>
                </a:solidFill>
                <a:ea typeface="Segoe UI" pitchFamily="34" charset="0"/>
                <a:cs typeface="Segoe UI" pitchFamily="34" charset="0"/>
              </a:rPr>
              <a:t>Optimizing how applications are composed</a:t>
            </a:r>
          </a:p>
        </p:txBody>
      </p:sp>
      <p:sp>
        <p:nvSpPr>
          <p:cNvPr id="16" name="Rectangle 15">
            <a:extLst>
              <a:ext uri="{FF2B5EF4-FFF2-40B4-BE49-F238E27FC236}">
                <a16:creationId xmlns:a16="http://schemas.microsoft.com/office/drawing/2014/main" id="{8FFA967B-88EE-4580-93D6-19777FEED0E6}"/>
              </a:ext>
            </a:extLst>
          </p:cNvPr>
          <p:cNvSpPr/>
          <p:nvPr/>
        </p:nvSpPr>
        <p:spPr>
          <a:xfrm>
            <a:off x="3109912" y="5628452"/>
            <a:ext cx="6216650" cy="923330"/>
          </a:xfrm>
          <a:prstGeom prst="rect">
            <a:avLst/>
          </a:prstGeom>
        </p:spPr>
        <p:txBody>
          <a:bodyPr>
            <a:spAutoFit/>
          </a:bodyPr>
          <a:lstStyle/>
          <a:p>
            <a:pPr algn="ctr" defTabSz="951028" fontAlgn="base">
              <a:lnSpc>
                <a:spcPct val="90000"/>
              </a:lnSpc>
              <a:spcBef>
                <a:spcPct val="0"/>
              </a:spcBef>
              <a:spcAft>
                <a:spcPct val="0"/>
              </a:spcAft>
            </a:pPr>
            <a:r>
              <a:rPr lang="en-US" sz="2000" b="1">
                <a:solidFill>
                  <a:schemeClr val="tx2"/>
                </a:solidFill>
                <a:ea typeface="Segoe UI" pitchFamily="34" charset="0"/>
                <a:cs typeface="Segoe UI" pitchFamily="34" charset="0"/>
              </a:rPr>
              <a:t>Cloud Orchestrators</a:t>
            </a:r>
          </a:p>
          <a:p>
            <a:pPr algn="ctr" defTabSz="951028" fontAlgn="base">
              <a:lnSpc>
                <a:spcPct val="90000"/>
              </a:lnSpc>
              <a:spcBef>
                <a:spcPct val="0"/>
              </a:spcBef>
              <a:spcAft>
                <a:spcPct val="0"/>
              </a:spcAft>
            </a:pPr>
            <a:r>
              <a:rPr lang="en-US" sz="2000">
                <a:solidFill>
                  <a:schemeClr val="tx2"/>
                </a:solidFill>
                <a:ea typeface="Segoe UI" pitchFamily="34" charset="0"/>
                <a:cs typeface="Segoe UI" pitchFamily="34" charset="0"/>
              </a:rPr>
              <a:t>Efficient ways to deliver Infrastructure for Applications</a:t>
            </a:r>
            <a:endParaRPr lang="en-US" sz="2000">
              <a:solidFill>
                <a:schemeClr val="tx2"/>
              </a:solidFill>
            </a:endParaRPr>
          </a:p>
        </p:txBody>
      </p:sp>
      <p:sp>
        <p:nvSpPr>
          <p:cNvPr id="17" name="Arrow: Down 16">
            <a:extLst>
              <a:ext uri="{FF2B5EF4-FFF2-40B4-BE49-F238E27FC236}">
                <a16:creationId xmlns:a16="http://schemas.microsoft.com/office/drawing/2014/main" id="{6A3C4DD5-D387-4A3B-AA6A-35061171A6D1}"/>
              </a:ext>
            </a:extLst>
          </p:cNvPr>
          <p:cNvSpPr/>
          <p:nvPr/>
        </p:nvSpPr>
        <p:spPr bwMode="auto">
          <a:xfrm rot="16200000">
            <a:off x="4408403" y="3553809"/>
            <a:ext cx="361950" cy="806185"/>
          </a:xfrm>
          <a:prstGeom prst="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Arrow: Down 17">
            <a:extLst>
              <a:ext uri="{FF2B5EF4-FFF2-40B4-BE49-F238E27FC236}">
                <a16:creationId xmlns:a16="http://schemas.microsoft.com/office/drawing/2014/main" id="{7AD810D8-F7DA-49C5-A9B8-728C4B03B9FC}"/>
              </a:ext>
            </a:extLst>
          </p:cNvPr>
          <p:cNvSpPr/>
          <p:nvPr/>
        </p:nvSpPr>
        <p:spPr bwMode="auto">
          <a:xfrm>
            <a:off x="6037261" y="2600997"/>
            <a:ext cx="361950" cy="806185"/>
          </a:xfrm>
          <a:prstGeom prst="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Arrow: Down 18">
            <a:extLst>
              <a:ext uri="{FF2B5EF4-FFF2-40B4-BE49-F238E27FC236}">
                <a16:creationId xmlns:a16="http://schemas.microsoft.com/office/drawing/2014/main" id="{5AF3DD56-66B7-4EB7-9DDD-2B2CCE9EA878}"/>
              </a:ext>
            </a:extLst>
          </p:cNvPr>
          <p:cNvSpPr/>
          <p:nvPr/>
        </p:nvSpPr>
        <p:spPr bwMode="auto">
          <a:xfrm rot="10800000">
            <a:off x="6037262" y="4488353"/>
            <a:ext cx="361950" cy="806185"/>
          </a:xfrm>
          <a:prstGeom prst="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Arrow: Down 19">
            <a:extLst>
              <a:ext uri="{FF2B5EF4-FFF2-40B4-BE49-F238E27FC236}">
                <a16:creationId xmlns:a16="http://schemas.microsoft.com/office/drawing/2014/main" id="{BEC2D008-5FDB-4947-A886-5AD0C3E82369}"/>
              </a:ext>
            </a:extLst>
          </p:cNvPr>
          <p:cNvSpPr/>
          <p:nvPr/>
        </p:nvSpPr>
        <p:spPr bwMode="auto">
          <a:xfrm rot="5400000">
            <a:off x="7666121" y="3567422"/>
            <a:ext cx="361950" cy="806185"/>
          </a:xfrm>
          <a:prstGeom prst="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1958075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bwMode="auto">
          <a:xfrm>
            <a:off x="5142217" y="1649110"/>
            <a:ext cx="1945924" cy="194592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56D2EA55-BA61-3A4F-97ED-150E64A2B4BF}"/>
              </a:ext>
            </a:extLst>
          </p:cNvPr>
          <p:cNvSpPr>
            <a:spLocks noGrp="1"/>
          </p:cNvSpPr>
          <p:nvPr>
            <p:ph type="title"/>
          </p:nvPr>
        </p:nvSpPr>
        <p:spPr/>
        <p:txBody>
          <a:bodyPr/>
          <a:lstStyle/>
          <a:p>
            <a:r>
              <a:rPr lang="en-GB">
                <a:solidFill>
                  <a:schemeClr val="accent3"/>
                </a:solidFill>
              </a:rPr>
              <a:t>DevOps view of the container advantage</a:t>
            </a:r>
          </a:p>
        </p:txBody>
      </p:sp>
      <p:grpSp>
        <p:nvGrpSpPr>
          <p:cNvPr id="25" name="Group 24">
            <a:extLst>
              <a:ext uri="{FF2B5EF4-FFF2-40B4-BE49-F238E27FC236}">
                <a16:creationId xmlns:a16="http://schemas.microsoft.com/office/drawing/2014/main" id="{6730F2C3-44D6-40A3-B6B0-16433CB6A56B}"/>
              </a:ext>
            </a:extLst>
          </p:cNvPr>
          <p:cNvGrpSpPr/>
          <p:nvPr/>
        </p:nvGrpSpPr>
        <p:grpSpPr>
          <a:xfrm>
            <a:off x="587948" y="4884173"/>
            <a:ext cx="5380857" cy="865927"/>
            <a:chOff x="598846" y="4981633"/>
            <a:chExt cx="5488832" cy="883303"/>
          </a:xfrm>
        </p:grpSpPr>
        <p:sp>
          <p:nvSpPr>
            <p:cNvPr id="26" name="TextBox 25">
              <a:extLst>
                <a:ext uri="{FF2B5EF4-FFF2-40B4-BE49-F238E27FC236}">
                  <a16:creationId xmlns:a16="http://schemas.microsoft.com/office/drawing/2014/main" id="{F0E637DF-EA86-4ABC-9F14-C02D882DD020}"/>
                </a:ext>
              </a:extLst>
            </p:cNvPr>
            <p:cNvSpPr txBox="1"/>
            <p:nvPr/>
          </p:nvSpPr>
          <p:spPr>
            <a:xfrm>
              <a:off x="598846" y="4981633"/>
              <a:ext cx="1655536" cy="883303"/>
            </a:xfrm>
            <a:prstGeom prst="rect">
              <a:avLst/>
            </a:prstGeom>
            <a:noFill/>
          </p:spPr>
          <p:txBody>
            <a:bodyPr wrap="square" lIns="143425" tIns="143425" rIns="143425" bIns="143425" rtlCol="0">
              <a:spAutoFit/>
            </a:bodyPr>
            <a:lstStyle/>
            <a:p>
              <a:pPr algn="ctr" defTabSz="932754">
                <a:spcAft>
                  <a:spcPts val="2353"/>
                </a:spcAft>
              </a:pPr>
              <a:r>
                <a:rPr lang="en-US" sz="1836">
                  <a:solidFill>
                    <a:srgbClr val="505050"/>
                  </a:solidFill>
                  <a:latin typeface="Segoe UI" panose="020B0502040204020203" pitchFamily="34" charset="0"/>
                  <a:cs typeface="Segoe UI" panose="020B0502040204020203" pitchFamily="34" charset="0"/>
                </a:rPr>
                <a:t>Fast </a:t>
              </a:r>
              <a:br>
                <a:rPr lang="en-US" sz="1836">
                  <a:solidFill>
                    <a:srgbClr val="505050"/>
                  </a:solidFill>
                  <a:latin typeface="Segoe UI" panose="020B0502040204020203" pitchFamily="34" charset="0"/>
                  <a:cs typeface="Segoe UI" panose="020B0502040204020203" pitchFamily="34" charset="0"/>
                </a:rPr>
              </a:br>
              <a:r>
                <a:rPr lang="en-US" sz="1836">
                  <a:solidFill>
                    <a:srgbClr val="505050"/>
                  </a:solidFill>
                  <a:latin typeface="Segoe UI" panose="020B0502040204020203" pitchFamily="34" charset="0"/>
                  <a:cs typeface="Segoe UI" panose="020B0502040204020203" pitchFamily="34" charset="0"/>
                </a:rPr>
                <a:t>iteration</a:t>
              </a:r>
            </a:p>
          </p:txBody>
        </p:sp>
        <p:sp>
          <p:nvSpPr>
            <p:cNvPr id="49" name="TextBox 48">
              <a:extLst>
                <a:ext uri="{FF2B5EF4-FFF2-40B4-BE49-F238E27FC236}">
                  <a16:creationId xmlns:a16="http://schemas.microsoft.com/office/drawing/2014/main" id="{05884DD8-E961-4A61-9B0C-035A58CC535A}"/>
                </a:ext>
              </a:extLst>
            </p:cNvPr>
            <p:cNvSpPr txBox="1"/>
            <p:nvPr/>
          </p:nvSpPr>
          <p:spPr>
            <a:xfrm>
              <a:off x="2447571" y="4981633"/>
              <a:ext cx="1791382" cy="883303"/>
            </a:xfrm>
            <a:prstGeom prst="rect">
              <a:avLst/>
            </a:prstGeom>
            <a:noFill/>
          </p:spPr>
          <p:txBody>
            <a:bodyPr wrap="square" lIns="143425" tIns="143425" rIns="143425" bIns="143425" rtlCol="0">
              <a:spAutoFit/>
            </a:bodyPr>
            <a:lstStyle/>
            <a:p>
              <a:pPr algn="ctr" defTabSz="932754">
                <a:spcAft>
                  <a:spcPts val="2353"/>
                </a:spcAft>
              </a:pPr>
              <a:r>
                <a:rPr lang="en-US" sz="1836">
                  <a:solidFill>
                    <a:srgbClr val="505050"/>
                  </a:solidFill>
                  <a:latin typeface="Segoe UI" panose="020B0502040204020203" pitchFamily="34" charset="0"/>
                  <a:cs typeface="Segoe UI" panose="020B0502040204020203" pitchFamily="34" charset="0"/>
                </a:rPr>
                <a:t>Agile </a:t>
              </a:r>
              <a:br>
                <a:rPr lang="en-US" sz="1836">
                  <a:solidFill>
                    <a:srgbClr val="505050"/>
                  </a:solidFill>
                  <a:latin typeface="Segoe UI" panose="020B0502040204020203" pitchFamily="34" charset="0"/>
                  <a:cs typeface="Segoe UI" panose="020B0502040204020203" pitchFamily="34" charset="0"/>
                </a:rPr>
              </a:br>
              <a:r>
                <a:rPr lang="en-US" sz="1836">
                  <a:solidFill>
                    <a:srgbClr val="505050"/>
                  </a:solidFill>
                  <a:latin typeface="Segoe UI" panose="020B0502040204020203" pitchFamily="34" charset="0"/>
                  <a:cs typeface="Segoe UI" panose="020B0502040204020203" pitchFamily="34" charset="0"/>
                </a:rPr>
                <a:t>delivery</a:t>
              </a:r>
            </a:p>
          </p:txBody>
        </p:sp>
        <p:sp>
          <p:nvSpPr>
            <p:cNvPr id="50" name="TextBox 49">
              <a:extLst>
                <a:ext uri="{FF2B5EF4-FFF2-40B4-BE49-F238E27FC236}">
                  <a16:creationId xmlns:a16="http://schemas.microsoft.com/office/drawing/2014/main" id="{068523FD-BFE9-4720-B928-EE84920E05D2}"/>
                </a:ext>
              </a:extLst>
            </p:cNvPr>
            <p:cNvSpPr txBox="1"/>
            <p:nvPr/>
          </p:nvSpPr>
          <p:spPr>
            <a:xfrm>
              <a:off x="4432142" y="4981633"/>
              <a:ext cx="1655536" cy="589384"/>
            </a:xfrm>
            <a:prstGeom prst="rect">
              <a:avLst/>
            </a:prstGeom>
            <a:noFill/>
          </p:spPr>
          <p:txBody>
            <a:bodyPr wrap="square" lIns="143425" tIns="143425" rIns="143425" bIns="143425" rtlCol="0">
              <a:spAutoFit/>
            </a:bodyPr>
            <a:lstStyle/>
            <a:p>
              <a:pPr algn="ctr" defTabSz="932754">
                <a:spcAft>
                  <a:spcPts val="2353"/>
                </a:spcAft>
              </a:pPr>
              <a:r>
                <a:rPr lang="en-US" sz="1836">
                  <a:solidFill>
                    <a:srgbClr val="505050"/>
                  </a:solidFill>
                  <a:latin typeface="Segoe UI" panose="020B0502040204020203" pitchFamily="34" charset="0"/>
                  <a:cs typeface="Segoe UI" panose="020B0502040204020203" pitchFamily="34" charset="0"/>
                </a:rPr>
                <a:t>Immutability</a:t>
              </a:r>
            </a:p>
          </p:txBody>
        </p:sp>
      </p:grpSp>
      <p:grpSp>
        <p:nvGrpSpPr>
          <p:cNvPr id="51" name="Group 50">
            <a:extLst>
              <a:ext uri="{FF2B5EF4-FFF2-40B4-BE49-F238E27FC236}">
                <a16:creationId xmlns:a16="http://schemas.microsoft.com/office/drawing/2014/main" id="{BA33CDD7-EFB6-4CDD-BB4D-A8319356A443}"/>
              </a:ext>
            </a:extLst>
          </p:cNvPr>
          <p:cNvGrpSpPr/>
          <p:nvPr/>
        </p:nvGrpSpPr>
        <p:grpSpPr>
          <a:xfrm>
            <a:off x="1837696" y="4396526"/>
            <a:ext cx="8518197" cy="0"/>
            <a:chOff x="1873673" y="4484201"/>
            <a:chExt cx="8689128" cy="0"/>
          </a:xfrm>
        </p:grpSpPr>
        <p:cxnSp>
          <p:nvCxnSpPr>
            <p:cNvPr id="52" name="Straight Connector 51">
              <a:extLst>
                <a:ext uri="{FF2B5EF4-FFF2-40B4-BE49-F238E27FC236}">
                  <a16:creationId xmlns:a16="http://schemas.microsoft.com/office/drawing/2014/main" id="{15104528-8906-4955-BC4D-9BA5DB4327FB}"/>
                </a:ext>
              </a:extLst>
            </p:cNvPr>
            <p:cNvCxnSpPr>
              <a:cxnSpLocks/>
            </p:cNvCxnSpPr>
            <p:nvPr/>
          </p:nvCxnSpPr>
          <p:spPr>
            <a:xfrm>
              <a:off x="1873673" y="4484201"/>
              <a:ext cx="1022530" cy="0"/>
            </a:xfrm>
            <a:prstGeom prst="line">
              <a:avLst/>
            </a:prstGeom>
            <a:ln w="28575" cap="rnd">
              <a:solidFill>
                <a:srgbClr val="A6A6A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2D2D268-271F-42D8-9A33-CF16F057ECA7}"/>
                </a:ext>
              </a:extLst>
            </p:cNvPr>
            <p:cNvCxnSpPr>
              <a:cxnSpLocks/>
            </p:cNvCxnSpPr>
            <p:nvPr/>
          </p:nvCxnSpPr>
          <p:spPr>
            <a:xfrm>
              <a:off x="3790322" y="4484201"/>
              <a:ext cx="1022530" cy="0"/>
            </a:xfrm>
            <a:prstGeom prst="line">
              <a:avLst/>
            </a:prstGeom>
            <a:ln w="28575" cap="rnd">
              <a:solidFill>
                <a:srgbClr val="A6A6A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E6A0968-D38D-43B2-A21A-6EFEE71C8C81}"/>
                </a:ext>
              </a:extLst>
            </p:cNvPr>
            <p:cNvCxnSpPr>
              <a:cxnSpLocks/>
            </p:cNvCxnSpPr>
            <p:nvPr/>
          </p:nvCxnSpPr>
          <p:spPr>
            <a:xfrm>
              <a:off x="7623621" y="4484201"/>
              <a:ext cx="1022530" cy="0"/>
            </a:xfrm>
            <a:prstGeom prst="line">
              <a:avLst/>
            </a:prstGeom>
            <a:ln w="28575" cap="rnd">
              <a:solidFill>
                <a:srgbClr val="A6A6A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351DF10-E61D-4ABC-A47D-C36A3985E556}"/>
                </a:ext>
              </a:extLst>
            </p:cNvPr>
            <p:cNvCxnSpPr>
              <a:cxnSpLocks/>
            </p:cNvCxnSpPr>
            <p:nvPr/>
          </p:nvCxnSpPr>
          <p:spPr>
            <a:xfrm>
              <a:off x="9540271" y="4484201"/>
              <a:ext cx="1022530" cy="0"/>
            </a:xfrm>
            <a:prstGeom prst="line">
              <a:avLst/>
            </a:prstGeom>
            <a:ln w="28575" cap="rnd">
              <a:solidFill>
                <a:srgbClr val="A6A6A6"/>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56" name="Connector: Elbow 24">
            <a:extLst>
              <a:ext uri="{FF2B5EF4-FFF2-40B4-BE49-F238E27FC236}">
                <a16:creationId xmlns:a16="http://schemas.microsoft.com/office/drawing/2014/main" id="{D2B2FC03-5BDF-417F-B1E8-10C408DD6F94}"/>
              </a:ext>
            </a:extLst>
          </p:cNvPr>
          <p:cNvCxnSpPr>
            <a:cxnSpLocks/>
          </p:cNvCxnSpPr>
          <p:nvPr/>
        </p:nvCxnSpPr>
        <p:spPr>
          <a:xfrm rot="5400000" flipH="1" flipV="1">
            <a:off x="3378392" y="2348883"/>
            <a:ext cx="1484122" cy="1684152"/>
          </a:xfrm>
          <a:prstGeom prst="bentConnector2">
            <a:avLst/>
          </a:prstGeom>
          <a:ln w="28575" cap="rnd">
            <a:solidFill>
              <a:srgbClr val="A6A6A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Connector: Elbow 74">
            <a:extLst>
              <a:ext uri="{FF2B5EF4-FFF2-40B4-BE49-F238E27FC236}">
                <a16:creationId xmlns:a16="http://schemas.microsoft.com/office/drawing/2014/main" id="{F9C59010-2ADE-48A0-BCDC-61DF8A714E53}"/>
              </a:ext>
            </a:extLst>
          </p:cNvPr>
          <p:cNvCxnSpPr>
            <a:cxnSpLocks/>
          </p:cNvCxnSpPr>
          <p:nvPr/>
        </p:nvCxnSpPr>
        <p:spPr>
          <a:xfrm rot="16200000" flipV="1">
            <a:off x="7331079" y="2348883"/>
            <a:ext cx="1484122" cy="1684150"/>
          </a:xfrm>
          <a:prstGeom prst="bentConnector2">
            <a:avLst/>
          </a:prstGeom>
          <a:ln w="28575" cap="rnd">
            <a:solidFill>
              <a:srgbClr val="A6A6A6"/>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C526CB1E-8273-47B7-B921-DA8061592A80}"/>
              </a:ext>
            </a:extLst>
          </p:cNvPr>
          <p:cNvGrpSpPr/>
          <p:nvPr/>
        </p:nvGrpSpPr>
        <p:grpSpPr>
          <a:xfrm>
            <a:off x="6224788" y="4884178"/>
            <a:ext cx="5380851" cy="865927"/>
            <a:chOff x="6348798" y="4981633"/>
            <a:chExt cx="5488826" cy="883302"/>
          </a:xfrm>
        </p:grpSpPr>
        <p:sp>
          <p:nvSpPr>
            <p:cNvPr id="62" name="TextBox 61">
              <a:extLst>
                <a:ext uri="{FF2B5EF4-FFF2-40B4-BE49-F238E27FC236}">
                  <a16:creationId xmlns:a16="http://schemas.microsoft.com/office/drawing/2014/main" id="{310CD638-A464-4A78-A6C3-A8378EC416D8}"/>
                </a:ext>
              </a:extLst>
            </p:cNvPr>
            <p:cNvSpPr txBox="1"/>
            <p:nvPr/>
          </p:nvSpPr>
          <p:spPr>
            <a:xfrm>
              <a:off x="6348798" y="4981633"/>
              <a:ext cx="1655536" cy="883302"/>
            </a:xfrm>
            <a:prstGeom prst="rect">
              <a:avLst/>
            </a:prstGeom>
            <a:noFill/>
          </p:spPr>
          <p:txBody>
            <a:bodyPr wrap="square" lIns="143425" tIns="143425" rIns="143425" bIns="143425" rtlCol="0">
              <a:spAutoFit/>
            </a:bodyPr>
            <a:lstStyle/>
            <a:p>
              <a:pPr algn="ctr" defTabSz="932754">
                <a:spcAft>
                  <a:spcPts val="2353"/>
                </a:spcAft>
              </a:pPr>
              <a:r>
                <a:rPr lang="en-US" sz="1836">
                  <a:solidFill>
                    <a:srgbClr val="505050"/>
                  </a:solidFill>
                  <a:latin typeface="Segoe UI" panose="020B0502040204020203" pitchFamily="34" charset="0"/>
                  <a:cs typeface="Segoe UI" panose="020B0502040204020203" pitchFamily="34" charset="0"/>
                </a:rPr>
                <a:t>Cost </a:t>
              </a:r>
              <a:br>
                <a:rPr lang="en-US" sz="1836">
                  <a:solidFill>
                    <a:srgbClr val="505050"/>
                  </a:solidFill>
                  <a:latin typeface="Segoe UI" panose="020B0502040204020203" pitchFamily="34" charset="0"/>
                  <a:cs typeface="Segoe UI" panose="020B0502040204020203" pitchFamily="34" charset="0"/>
                </a:rPr>
              </a:br>
              <a:r>
                <a:rPr lang="en-US" sz="1836">
                  <a:solidFill>
                    <a:srgbClr val="505050"/>
                  </a:solidFill>
                  <a:latin typeface="Segoe UI" panose="020B0502040204020203" pitchFamily="34" charset="0"/>
                  <a:cs typeface="Segoe UI" panose="020B0502040204020203" pitchFamily="34" charset="0"/>
                </a:rPr>
                <a:t>savings</a:t>
              </a:r>
            </a:p>
          </p:txBody>
        </p:sp>
        <p:sp>
          <p:nvSpPr>
            <p:cNvPr id="63" name="TextBox 62">
              <a:extLst>
                <a:ext uri="{FF2B5EF4-FFF2-40B4-BE49-F238E27FC236}">
                  <a16:creationId xmlns:a16="http://schemas.microsoft.com/office/drawing/2014/main" id="{7659F402-BAB9-4F5D-B027-0E638B4031F9}"/>
                </a:ext>
              </a:extLst>
            </p:cNvPr>
            <p:cNvSpPr txBox="1"/>
            <p:nvPr/>
          </p:nvSpPr>
          <p:spPr>
            <a:xfrm>
              <a:off x="10182088" y="4981633"/>
              <a:ext cx="1655536" cy="883302"/>
            </a:xfrm>
            <a:prstGeom prst="rect">
              <a:avLst/>
            </a:prstGeom>
            <a:noFill/>
          </p:spPr>
          <p:txBody>
            <a:bodyPr wrap="square" lIns="143425" tIns="143425" rIns="143425" bIns="143425" rtlCol="0">
              <a:spAutoFit/>
            </a:bodyPr>
            <a:lstStyle/>
            <a:p>
              <a:pPr algn="ctr" defTabSz="932754">
                <a:spcAft>
                  <a:spcPts val="2353"/>
                </a:spcAft>
              </a:pPr>
              <a:r>
                <a:rPr lang="en-US" sz="1836">
                  <a:solidFill>
                    <a:srgbClr val="505050"/>
                  </a:solidFill>
                  <a:latin typeface="Segoe UI" panose="020B0502040204020203" pitchFamily="34" charset="0"/>
                  <a:cs typeface="Segoe UI" panose="020B0502040204020203" pitchFamily="34" charset="0"/>
                </a:rPr>
                <a:t>Elastic bursting</a:t>
              </a:r>
            </a:p>
          </p:txBody>
        </p:sp>
        <p:sp>
          <p:nvSpPr>
            <p:cNvPr id="64" name="TextBox 63">
              <a:extLst>
                <a:ext uri="{FF2B5EF4-FFF2-40B4-BE49-F238E27FC236}">
                  <a16:creationId xmlns:a16="http://schemas.microsoft.com/office/drawing/2014/main" id="{A36FF80F-5247-4BE9-81C9-3FF7607ABFFE}"/>
                </a:ext>
              </a:extLst>
            </p:cNvPr>
            <p:cNvSpPr txBox="1"/>
            <p:nvPr/>
          </p:nvSpPr>
          <p:spPr>
            <a:xfrm>
              <a:off x="8265443" y="4981633"/>
              <a:ext cx="1655536" cy="883302"/>
            </a:xfrm>
            <a:prstGeom prst="rect">
              <a:avLst/>
            </a:prstGeom>
            <a:noFill/>
          </p:spPr>
          <p:txBody>
            <a:bodyPr wrap="square" lIns="143425" tIns="143425" rIns="143425" bIns="143425" rtlCol="0">
              <a:spAutoFit/>
            </a:bodyPr>
            <a:lstStyle/>
            <a:p>
              <a:pPr algn="ctr" defTabSz="932754">
                <a:spcAft>
                  <a:spcPts val="2353"/>
                </a:spcAft>
              </a:pPr>
              <a:r>
                <a:rPr lang="en-US" sz="1836">
                  <a:solidFill>
                    <a:srgbClr val="505050"/>
                  </a:solidFill>
                  <a:latin typeface="Segoe UI" panose="020B0502040204020203" pitchFamily="34" charset="0"/>
                  <a:cs typeface="Segoe UI" panose="020B0502040204020203" pitchFamily="34" charset="0"/>
                </a:rPr>
                <a:t>Efficient deployment</a:t>
              </a:r>
            </a:p>
          </p:txBody>
        </p:sp>
      </p:grpSp>
      <p:sp>
        <p:nvSpPr>
          <p:cNvPr id="106" name="Left Bracket 105">
            <a:extLst>
              <a:ext uri="{FF2B5EF4-FFF2-40B4-BE49-F238E27FC236}">
                <a16:creationId xmlns:a16="http://schemas.microsoft.com/office/drawing/2014/main" id="{6F638F08-674C-4ED9-A7DE-0B5F64223055}"/>
              </a:ext>
            </a:extLst>
          </p:cNvPr>
          <p:cNvSpPr/>
          <p:nvPr/>
        </p:nvSpPr>
        <p:spPr>
          <a:xfrm rot="16200000">
            <a:off x="8862398" y="3832718"/>
            <a:ext cx="89641" cy="4392420"/>
          </a:xfrm>
          <a:prstGeom prst="leftBracket">
            <a:avLst>
              <a:gd name="adj" fmla="val 1954"/>
            </a:avLst>
          </a:prstGeom>
          <a:ln w="28575" cap="rnd">
            <a:solidFill>
              <a:srgbClr val="002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754"/>
            <a:endParaRPr lang="en-US" sz="1836">
              <a:solidFill>
                <a:srgbClr val="505050"/>
              </a:solidFill>
              <a:latin typeface="Segoe UI"/>
            </a:endParaRPr>
          </a:p>
        </p:txBody>
      </p:sp>
      <p:sp>
        <p:nvSpPr>
          <p:cNvPr id="107" name="TextBox 106">
            <a:extLst>
              <a:ext uri="{FF2B5EF4-FFF2-40B4-BE49-F238E27FC236}">
                <a16:creationId xmlns:a16="http://schemas.microsoft.com/office/drawing/2014/main" id="{DFF78382-BFA8-4113-9376-B631AD2546FA}"/>
              </a:ext>
            </a:extLst>
          </p:cNvPr>
          <p:cNvSpPr txBox="1"/>
          <p:nvPr/>
        </p:nvSpPr>
        <p:spPr>
          <a:xfrm>
            <a:off x="8279020" y="5748491"/>
            <a:ext cx="1272385" cy="658947"/>
          </a:xfrm>
          <a:prstGeom prst="rect">
            <a:avLst/>
          </a:prstGeom>
          <a:solidFill>
            <a:srgbClr val="FFFFFF"/>
          </a:solidFill>
          <a:ln>
            <a:noFill/>
          </a:ln>
        </p:spPr>
        <p:txBody>
          <a:bodyPr wrap="square" lIns="143425" tIns="143425" rIns="143425" bIns="143425" rtlCol="0">
            <a:spAutoFit/>
          </a:bodyPr>
          <a:lstStyle/>
          <a:p>
            <a:pPr algn="ctr" defTabSz="932754">
              <a:spcAft>
                <a:spcPts val="2353"/>
              </a:spcAft>
            </a:pPr>
            <a:r>
              <a:rPr lang="en-US" sz="2353">
                <a:solidFill>
                  <a:srgbClr val="0072C6"/>
                </a:solidFill>
                <a:latin typeface="Segoe UI Semibold" panose="020B0702040204020203" pitchFamily="34" charset="0"/>
                <a:cs typeface="Segoe UI Semibold" panose="020B0702040204020203" pitchFamily="34" charset="0"/>
              </a:rPr>
              <a:t>For IT</a:t>
            </a:r>
          </a:p>
        </p:txBody>
      </p:sp>
      <p:sp>
        <p:nvSpPr>
          <p:cNvPr id="109" name="Left Bracket 108">
            <a:extLst>
              <a:ext uri="{FF2B5EF4-FFF2-40B4-BE49-F238E27FC236}">
                <a16:creationId xmlns:a16="http://schemas.microsoft.com/office/drawing/2014/main" id="{730FD369-ECB0-464C-B41D-C92AB256DC29}"/>
              </a:ext>
            </a:extLst>
          </p:cNvPr>
          <p:cNvSpPr/>
          <p:nvPr/>
        </p:nvSpPr>
        <p:spPr>
          <a:xfrm rot="16200000">
            <a:off x="3242844" y="3832718"/>
            <a:ext cx="89641" cy="4392420"/>
          </a:xfrm>
          <a:prstGeom prst="leftBracket">
            <a:avLst>
              <a:gd name="adj" fmla="val 1954"/>
            </a:avLst>
          </a:prstGeom>
          <a:ln w="28575" cap="rnd">
            <a:solidFill>
              <a:srgbClr val="002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754"/>
            <a:endParaRPr lang="en-US" sz="1836">
              <a:solidFill>
                <a:srgbClr val="505050"/>
              </a:solidFill>
              <a:latin typeface="Segoe UI"/>
            </a:endParaRPr>
          </a:p>
        </p:txBody>
      </p:sp>
      <p:sp>
        <p:nvSpPr>
          <p:cNvPr id="110" name="TextBox 109">
            <a:extLst>
              <a:ext uri="{FF2B5EF4-FFF2-40B4-BE49-F238E27FC236}">
                <a16:creationId xmlns:a16="http://schemas.microsoft.com/office/drawing/2014/main" id="{B565BAC2-3907-4541-9DB0-3DB74119E184}"/>
              </a:ext>
            </a:extLst>
          </p:cNvPr>
          <p:cNvSpPr txBox="1"/>
          <p:nvPr/>
        </p:nvSpPr>
        <p:spPr>
          <a:xfrm>
            <a:off x="2123611" y="5748491"/>
            <a:ext cx="2309532" cy="651738"/>
          </a:xfrm>
          <a:prstGeom prst="rect">
            <a:avLst/>
          </a:prstGeom>
          <a:solidFill>
            <a:schemeClr val="bg1"/>
          </a:solidFill>
          <a:ln>
            <a:noFill/>
          </a:ln>
        </p:spPr>
        <p:txBody>
          <a:bodyPr wrap="square" lIns="143425" tIns="143425" rIns="143425" bIns="143425" rtlCol="0">
            <a:spAutoFit/>
          </a:bodyPr>
          <a:lstStyle/>
          <a:p>
            <a:pPr algn="ctr" defTabSz="932754">
              <a:spcAft>
                <a:spcPts val="2353"/>
              </a:spcAft>
            </a:pPr>
            <a:r>
              <a:rPr lang="en-US" sz="2353">
                <a:solidFill>
                  <a:srgbClr val="0072C6"/>
                </a:solidFill>
                <a:latin typeface="Segoe UI Semibold" panose="020B0702040204020203" pitchFamily="34" charset="0"/>
                <a:cs typeface="Segoe UI Semibold" panose="020B0702040204020203" pitchFamily="34" charset="0"/>
              </a:rPr>
              <a:t>For developers</a:t>
            </a:r>
          </a:p>
        </p:txBody>
      </p:sp>
      <p:sp>
        <p:nvSpPr>
          <p:cNvPr id="112" name="Oval 111"/>
          <p:cNvSpPr/>
          <p:nvPr/>
        </p:nvSpPr>
        <p:spPr bwMode="auto">
          <a:xfrm>
            <a:off x="943120" y="3994670"/>
            <a:ext cx="839720" cy="83972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arrow_11" title="Icon of a circle made of two curved arrows">
            <a:extLst>
              <a:ext uri="{FF2B5EF4-FFF2-40B4-BE49-F238E27FC236}">
                <a16:creationId xmlns:a16="http://schemas.microsoft.com/office/drawing/2014/main" id="{8AA96DD9-7B9D-457C-A969-01EC3193771D}"/>
              </a:ext>
            </a:extLst>
          </p:cNvPr>
          <p:cNvSpPr>
            <a:spLocks noChangeAspect="1" noEditPoints="1"/>
          </p:cNvSpPr>
          <p:nvPr/>
        </p:nvSpPr>
        <p:spPr bwMode="auto">
          <a:xfrm>
            <a:off x="1152176" y="4194316"/>
            <a:ext cx="421608" cy="440431"/>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2700" cap="sq" cmpd="sng">
            <a:solidFill>
              <a:schemeClr val="bg1"/>
            </a:solidFill>
            <a:prstDash val="solid"/>
            <a:miter lim="800000"/>
            <a:headEnd/>
            <a:tailEnd/>
          </a:ln>
        </p:spPr>
        <p:txBody>
          <a:bodyPr vert="horz" wrap="square" lIns="91439" tIns="45719" rIns="91439" bIns="45719" numCol="1" anchor="t" anchorCtr="0" compatLnSpc="1">
            <a:prstTxWarp prst="textNoShape">
              <a:avLst/>
            </a:prstTxWarp>
          </a:bodyPr>
          <a:lstStyle/>
          <a:p>
            <a:pPr defTabSz="932754"/>
            <a:endParaRPr lang="en-US" sz="900">
              <a:gradFill>
                <a:gsLst>
                  <a:gs pos="0">
                    <a:srgbClr val="505050"/>
                  </a:gs>
                  <a:gs pos="100000">
                    <a:srgbClr val="505050"/>
                  </a:gs>
                </a:gsLst>
                <a:lin ang="5400000" scaled="1"/>
              </a:gradFill>
              <a:latin typeface="Segoe UI Semilight"/>
            </a:endParaRPr>
          </a:p>
        </p:txBody>
      </p:sp>
      <p:sp>
        <p:nvSpPr>
          <p:cNvPr id="114" name="Oval 113"/>
          <p:cNvSpPr/>
          <p:nvPr/>
        </p:nvSpPr>
        <p:spPr bwMode="auto">
          <a:xfrm>
            <a:off x="2868560" y="3994670"/>
            <a:ext cx="839720" cy="83972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5" name="arrow_12" title="Icon of a circle made of a curved arrow pointing clockwise">
            <a:extLst>
              <a:ext uri="{FF2B5EF4-FFF2-40B4-BE49-F238E27FC236}">
                <a16:creationId xmlns:a16="http://schemas.microsoft.com/office/drawing/2014/main" id="{8EAD6A33-D7A0-47FB-B0E7-076916AB99DF}"/>
              </a:ext>
            </a:extLst>
          </p:cNvPr>
          <p:cNvSpPr>
            <a:spLocks noChangeAspect="1" noEditPoints="1"/>
          </p:cNvSpPr>
          <p:nvPr/>
        </p:nvSpPr>
        <p:spPr bwMode="auto">
          <a:xfrm>
            <a:off x="3060835" y="4184442"/>
            <a:ext cx="452951" cy="445340"/>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2700" cap="sq" cmpd="sng">
            <a:solidFill>
              <a:srgbClr val="FFFFFF"/>
            </a:solidFill>
            <a:prstDash val="solid"/>
            <a:miter lim="800000"/>
            <a:headEnd/>
            <a:tailEnd/>
          </a:ln>
        </p:spPr>
        <p:txBody>
          <a:bodyPr vert="horz" wrap="square" lIns="91439" tIns="45719" rIns="91439" bIns="45719" numCol="1" anchor="t" anchorCtr="0" compatLnSpc="1">
            <a:prstTxWarp prst="textNoShape">
              <a:avLst/>
            </a:prstTxWarp>
          </a:bodyPr>
          <a:lstStyle/>
          <a:p>
            <a:pPr defTabSz="932754"/>
            <a:endParaRPr lang="en-US" sz="900">
              <a:gradFill>
                <a:gsLst>
                  <a:gs pos="0">
                    <a:srgbClr val="505050"/>
                  </a:gs>
                  <a:gs pos="100000">
                    <a:srgbClr val="505050"/>
                  </a:gs>
                </a:gsLst>
                <a:lin ang="5400000" scaled="1"/>
              </a:gradFill>
              <a:latin typeface="Segoe UI Semilight"/>
            </a:endParaRPr>
          </a:p>
        </p:txBody>
      </p:sp>
      <p:sp>
        <p:nvSpPr>
          <p:cNvPr id="116" name="Oval 115"/>
          <p:cNvSpPr/>
          <p:nvPr/>
        </p:nvSpPr>
        <p:spPr bwMode="auto">
          <a:xfrm>
            <a:off x="6627266" y="3994670"/>
            <a:ext cx="839720" cy="83972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7" name="bank" title="Icon of a piggy bank">
            <a:extLst>
              <a:ext uri="{FF2B5EF4-FFF2-40B4-BE49-F238E27FC236}">
                <a16:creationId xmlns:a16="http://schemas.microsoft.com/office/drawing/2014/main" id="{A854DC49-585E-4B9F-BCD0-1C1792A14DEC}"/>
              </a:ext>
            </a:extLst>
          </p:cNvPr>
          <p:cNvSpPr>
            <a:spLocks noChangeAspect="1" noEditPoints="1"/>
          </p:cNvSpPr>
          <p:nvPr/>
        </p:nvSpPr>
        <p:spPr bwMode="auto">
          <a:xfrm>
            <a:off x="6770019" y="4146813"/>
            <a:ext cx="522958" cy="483900"/>
          </a:xfrm>
          <a:custGeom>
            <a:avLst/>
            <a:gdLst>
              <a:gd name="T0" fmla="*/ 181 w 335"/>
              <a:gd name="T1" fmla="*/ 59 h 309"/>
              <a:gd name="T2" fmla="*/ 180 w 335"/>
              <a:gd name="T3" fmla="*/ 47 h 309"/>
              <a:gd name="T4" fmla="*/ 227 w 335"/>
              <a:gd name="T5" fmla="*/ 0 h 309"/>
              <a:gd name="T6" fmla="*/ 274 w 335"/>
              <a:gd name="T7" fmla="*/ 47 h 309"/>
              <a:gd name="T8" fmla="*/ 259 w 335"/>
              <a:gd name="T9" fmla="*/ 81 h 309"/>
              <a:gd name="T10" fmla="*/ 181 w 335"/>
              <a:gd name="T11" fmla="*/ 59 h 309"/>
              <a:gd name="T12" fmla="*/ 180 w 335"/>
              <a:gd name="T13" fmla="*/ 45 h 309"/>
              <a:gd name="T14" fmla="*/ 145 w 335"/>
              <a:gd name="T15" fmla="*/ 44 h 309"/>
              <a:gd name="T16" fmla="*/ 92 w 335"/>
              <a:gd name="T17" fmla="*/ 11 h 309"/>
              <a:gd name="T18" fmla="*/ 92 w 335"/>
              <a:gd name="T19" fmla="*/ 62 h 309"/>
              <a:gd name="T20" fmla="*/ 89 w 335"/>
              <a:gd name="T21" fmla="*/ 66 h 309"/>
              <a:gd name="T22" fmla="*/ 56 w 335"/>
              <a:gd name="T23" fmla="*/ 92 h 309"/>
              <a:gd name="T24" fmla="*/ 19 w 335"/>
              <a:gd name="T25" fmla="*/ 134 h 309"/>
              <a:gd name="T26" fmla="*/ 0 w 335"/>
              <a:gd name="T27" fmla="*/ 154 h 309"/>
              <a:gd name="T28" fmla="*/ 0 w 335"/>
              <a:gd name="T29" fmla="*/ 178 h 309"/>
              <a:gd name="T30" fmla="*/ 19 w 335"/>
              <a:gd name="T31" fmla="*/ 198 h 309"/>
              <a:gd name="T32" fmla="*/ 28 w 335"/>
              <a:gd name="T33" fmla="*/ 198 h 309"/>
              <a:gd name="T34" fmla="*/ 89 w 335"/>
              <a:gd name="T35" fmla="*/ 264 h 309"/>
              <a:gd name="T36" fmla="*/ 89 w 335"/>
              <a:gd name="T37" fmla="*/ 289 h 309"/>
              <a:gd name="T38" fmla="*/ 108 w 335"/>
              <a:gd name="T39" fmla="*/ 309 h 309"/>
              <a:gd name="T40" fmla="*/ 133 w 335"/>
              <a:gd name="T41" fmla="*/ 309 h 309"/>
              <a:gd name="T42" fmla="*/ 152 w 335"/>
              <a:gd name="T43" fmla="*/ 289 h 309"/>
              <a:gd name="T44" fmla="*/ 226 w 335"/>
              <a:gd name="T45" fmla="*/ 289 h 309"/>
              <a:gd name="T46" fmla="*/ 245 w 335"/>
              <a:gd name="T47" fmla="*/ 309 h 309"/>
              <a:gd name="T48" fmla="*/ 270 w 335"/>
              <a:gd name="T49" fmla="*/ 309 h 309"/>
              <a:gd name="T50" fmla="*/ 289 w 335"/>
              <a:gd name="T51" fmla="*/ 289 h 309"/>
              <a:gd name="T52" fmla="*/ 289 w 335"/>
              <a:gd name="T53" fmla="*/ 251 h 309"/>
              <a:gd name="T54" fmla="*/ 335 w 335"/>
              <a:gd name="T55" fmla="*/ 167 h 309"/>
              <a:gd name="T56" fmla="*/ 268 w 335"/>
              <a:gd name="T57" fmla="*/ 70 h 309"/>
              <a:gd name="T58" fmla="*/ 89 w 335"/>
              <a:gd name="T59" fmla="*/ 137 h 309"/>
              <a:gd name="T60" fmla="*/ 94 w 335"/>
              <a:gd name="T61" fmla="*/ 132 h 309"/>
              <a:gd name="T62" fmla="*/ 89 w 335"/>
              <a:gd name="T63" fmla="*/ 127 h 309"/>
              <a:gd name="T64" fmla="*/ 84 w 335"/>
              <a:gd name="T65" fmla="*/ 132 h 309"/>
              <a:gd name="T66" fmla="*/ 89 w 335"/>
              <a:gd name="T67" fmla="*/ 13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5" h="309">
                <a:moveTo>
                  <a:pt x="181" y="59"/>
                </a:moveTo>
                <a:cubicBezTo>
                  <a:pt x="180" y="55"/>
                  <a:pt x="180" y="51"/>
                  <a:pt x="180" y="47"/>
                </a:cubicBezTo>
                <a:cubicBezTo>
                  <a:pt x="180" y="21"/>
                  <a:pt x="201" y="0"/>
                  <a:pt x="227" y="0"/>
                </a:cubicBezTo>
                <a:cubicBezTo>
                  <a:pt x="253" y="0"/>
                  <a:pt x="274" y="21"/>
                  <a:pt x="274" y="47"/>
                </a:cubicBezTo>
                <a:cubicBezTo>
                  <a:pt x="274" y="60"/>
                  <a:pt x="268" y="73"/>
                  <a:pt x="259" y="81"/>
                </a:cubicBezTo>
                <a:lnTo>
                  <a:pt x="181" y="59"/>
                </a:lnTo>
                <a:close/>
                <a:moveTo>
                  <a:pt x="180" y="45"/>
                </a:moveTo>
                <a:cubicBezTo>
                  <a:pt x="145" y="44"/>
                  <a:pt x="145" y="44"/>
                  <a:pt x="145" y="44"/>
                </a:cubicBezTo>
                <a:cubicBezTo>
                  <a:pt x="92" y="11"/>
                  <a:pt x="92" y="11"/>
                  <a:pt x="92" y="11"/>
                </a:cubicBezTo>
                <a:cubicBezTo>
                  <a:pt x="92" y="62"/>
                  <a:pt x="92" y="62"/>
                  <a:pt x="92" y="62"/>
                </a:cubicBezTo>
                <a:cubicBezTo>
                  <a:pt x="92" y="64"/>
                  <a:pt x="91" y="66"/>
                  <a:pt x="89" y="66"/>
                </a:cubicBezTo>
                <a:cubicBezTo>
                  <a:pt x="85" y="68"/>
                  <a:pt x="76" y="74"/>
                  <a:pt x="56" y="92"/>
                </a:cubicBezTo>
                <a:cubicBezTo>
                  <a:pt x="24" y="120"/>
                  <a:pt x="19" y="134"/>
                  <a:pt x="19" y="134"/>
                </a:cubicBezTo>
                <a:cubicBezTo>
                  <a:pt x="8" y="134"/>
                  <a:pt x="0" y="143"/>
                  <a:pt x="0" y="154"/>
                </a:cubicBezTo>
                <a:cubicBezTo>
                  <a:pt x="0" y="178"/>
                  <a:pt x="0" y="178"/>
                  <a:pt x="0" y="178"/>
                </a:cubicBezTo>
                <a:cubicBezTo>
                  <a:pt x="0" y="189"/>
                  <a:pt x="8" y="198"/>
                  <a:pt x="19" y="198"/>
                </a:cubicBezTo>
                <a:cubicBezTo>
                  <a:pt x="28" y="198"/>
                  <a:pt x="28" y="198"/>
                  <a:pt x="28" y="198"/>
                </a:cubicBezTo>
                <a:cubicBezTo>
                  <a:pt x="28" y="237"/>
                  <a:pt x="62" y="264"/>
                  <a:pt x="89" y="264"/>
                </a:cubicBezTo>
                <a:cubicBezTo>
                  <a:pt x="89" y="289"/>
                  <a:pt x="89" y="289"/>
                  <a:pt x="89" y="289"/>
                </a:cubicBezTo>
                <a:cubicBezTo>
                  <a:pt x="89" y="300"/>
                  <a:pt x="98" y="309"/>
                  <a:pt x="108" y="309"/>
                </a:cubicBezTo>
                <a:cubicBezTo>
                  <a:pt x="133" y="309"/>
                  <a:pt x="133" y="309"/>
                  <a:pt x="133" y="309"/>
                </a:cubicBezTo>
                <a:cubicBezTo>
                  <a:pt x="144" y="309"/>
                  <a:pt x="152" y="300"/>
                  <a:pt x="152" y="289"/>
                </a:cubicBezTo>
                <a:cubicBezTo>
                  <a:pt x="226" y="289"/>
                  <a:pt x="226" y="289"/>
                  <a:pt x="226" y="289"/>
                </a:cubicBezTo>
                <a:cubicBezTo>
                  <a:pt x="226" y="300"/>
                  <a:pt x="235" y="309"/>
                  <a:pt x="245" y="309"/>
                </a:cubicBezTo>
                <a:cubicBezTo>
                  <a:pt x="270" y="309"/>
                  <a:pt x="270" y="309"/>
                  <a:pt x="270" y="309"/>
                </a:cubicBezTo>
                <a:cubicBezTo>
                  <a:pt x="281" y="309"/>
                  <a:pt x="289" y="300"/>
                  <a:pt x="289" y="289"/>
                </a:cubicBezTo>
                <a:cubicBezTo>
                  <a:pt x="289" y="251"/>
                  <a:pt x="289" y="251"/>
                  <a:pt x="289" y="251"/>
                </a:cubicBezTo>
                <a:cubicBezTo>
                  <a:pt x="317" y="233"/>
                  <a:pt x="335" y="202"/>
                  <a:pt x="335" y="167"/>
                </a:cubicBezTo>
                <a:cubicBezTo>
                  <a:pt x="335" y="123"/>
                  <a:pt x="306" y="85"/>
                  <a:pt x="268" y="70"/>
                </a:cubicBezTo>
                <a:moveTo>
                  <a:pt x="89" y="137"/>
                </a:moveTo>
                <a:cubicBezTo>
                  <a:pt x="92" y="137"/>
                  <a:pt x="94" y="135"/>
                  <a:pt x="94" y="132"/>
                </a:cubicBezTo>
                <a:cubicBezTo>
                  <a:pt x="94" y="129"/>
                  <a:pt x="92" y="127"/>
                  <a:pt x="89" y="127"/>
                </a:cubicBezTo>
                <a:cubicBezTo>
                  <a:pt x="86" y="127"/>
                  <a:pt x="84" y="129"/>
                  <a:pt x="84" y="132"/>
                </a:cubicBezTo>
                <a:cubicBezTo>
                  <a:pt x="84" y="135"/>
                  <a:pt x="86" y="137"/>
                  <a:pt x="89" y="137"/>
                </a:cubicBezTo>
                <a:close/>
              </a:path>
            </a:pathLst>
          </a:custGeom>
          <a:noFill/>
          <a:ln w="12700" cap="sq" cmpd="sng">
            <a:solidFill>
              <a:srgbClr val="FFFFFF"/>
            </a:solidFill>
            <a:prstDash val="solid"/>
            <a:miter lim="800000"/>
            <a:headEnd/>
            <a:tailEnd/>
          </a:ln>
          <a:extLst>
            <a:ext uri="{909E8E84-426E-40dd-AFC4-6F175D3DCCD1}">
              <a14:hiddenFill xmlns="" xmlns:a16="http://schemas.microsoft.com/office/drawing/2014/main" xmlns:p14="http://schemas.microsoft.com/office/powerpoint/2010/main" xmlns:mc="http://schemas.openxmlformats.org/markup-compatibility/2006" xmlns:a14="http://schemas.microsoft.com/office/drawing/2010/main">
                <a:solidFill>
                  <a:srgbClr val="FFFFFF"/>
                </a:solidFill>
              </a14:hiddenFill>
            </a:ext>
          </a:extLst>
        </p:spPr>
        <p:txBody>
          <a:bodyPr vert="horz" wrap="square" lIns="91439" tIns="45719" rIns="91439" bIns="45719" numCol="1" anchor="t" anchorCtr="0" compatLnSpc="1">
            <a:prstTxWarp prst="textNoShape">
              <a:avLst/>
            </a:prstTxWarp>
          </a:bodyPr>
          <a:lstStyle/>
          <a:p>
            <a:pPr defTabSz="932754"/>
            <a:endParaRPr lang="en-US" sz="900">
              <a:gradFill>
                <a:gsLst>
                  <a:gs pos="0">
                    <a:srgbClr val="505050"/>
                  </a:gs>
                  <a:gs pos="100000">
                    <a:srgbClr val="505050"/>
                  </a:gs>
                </a:gsLst>
              </a:gradFill>
              <a:latin typeface="Segoe UI Semilight"/>
            </a:endParaRPr>
          </a:p>
        </p:txBody>
      </p:sp>
      <p:sp>
        <p:nvSpPr>
          <p:cNvPr id="118" name="Oval 117"/>
          <p:cNvSpPr/>
          <p:nvPr/>
        </p:nvSpPr>
        <p:spPr bwMode="auto">
          <a:xfrm>
            <a:off x="8470774" y="3994670"/>
            <a:ext cx="839720" cy="83972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9" name="Oval 118"/>
          <p:cNvSpPr/>
          <p:nvPr/>
        </p:nvSpPr>
        <p:spPr bwMode="auto">
          <a:xfrm>
            <a:off x="10314282" y="3994670"/>
            <a:ext cx="839720" cy="83972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0" name="Processing_E9F5" title="Icon of two interlocked gears">
            <a:extLst>
              <a:ext uri="{FF2B5EF4-FFF2-40B4-BE49-F238E27FC236}">
                <a16:creationId xmlns:a16="http://schemas.microsoft.com/office/drawing/2014/main" id="{B337E9DD-7E30-4765-B787-76B15E6FB1CC}"/>
              </a:ext>
            </a:extLst>
          </p:cNvPr>
          <p:cNvSpPr>
            <a:spLocks noChangeAspect="1" noEditPoints="1"/>
          </p:cNvSpPr>
          <p:nvPr/>
        </p:nvSpPr>
        <p:spPr bwMode="auto">
          <a:xfrm>
            <a:off x="8682653" y="4246336"/>
            <a:ext cx="419956" cy="365755"/>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rgbClr val="FFFFFF"/>
            </a:solidFill>
            <a:prstDash val="solid"/>
            <a:miter lim="800000"/>
            <a:headEnd/>
            <a:tailEnd/>
          </a:ln>
          <a:extLst>
            <a:ext uri="{909E8E84-426E-40dd-AFC4-6F175D3DCCD1}">
              <a14:hiddenFill xmlns="" xmlns:a16="http://schemas.microsoft.com/office/drawing/2014/main" xmlns:p14="http://schemas.microsoft.com/office/powerpoint/2010/main" xmlns:mc="http://schemas.openxmlformats.org/markup-compatibility/2006" xmlns:a14="http://schemas.microsoft.com/office/drawing/2010/main">
                <a:solidFill>
                  <a:srgbClr val="FFFFFF"/>
                </a:solidFill>
              </a14:hiddenFill>
            </a:ext>
          </a:extLst>
        </p:spPr>
        <p:txBody>
          <a:bodyPr vert="horz" wrap="square" lIns="91439" tIns="45719" rIns="91439" bIns="45719" numCol="1" anchor="t" anchorCtr="0" compatLnSpc="1">
            <a:prstTxWarp prst="textNoShape">
              <a:avLst/>
            </a:prstTxWarp>
          </a:bodyPr>
          <a:lstStyle/>
          <a:p>
            <a:pPr defTabSz="932754"/>
            <a:endParaRPr lang="en-US" sz="1836">
              <a:solidFill>
                <a:srgbClr val="353535"/>
              </a:solidFill>
              <a:latin typeface="Segoe UI Semilight"/>
            </a:endParaRPr>
          </a:p>
        </p:txBody>
      </p:sp>
      <p:sp>
        <p:nvSpPr>
          <p:cNvPr id="121" name="arrow_7" title="Icon of a two-sided arrow">
            <a:extLst>
              <a:ext uri="{FF2B5EF4-FFF2-40B4-BE49-F238E27FC236}">
                <a16:creationId xmlns:a16="http://schemas.microsoft.com/office/drawing/2014/main" id="{A42E2D08-1916-4AA6-82B3-C014D7F914A4}"/>
              </a:ext>
            </a:extLst>
          </p:cNvPr>
          <p:cNvSpPr>
            <a:spLocks noChangeAspect="1" noEditPoints="1"/>
          </p:cNvSpPr>
          <p:nvPr/>
        </p:nvSpPr>
        <p:spPr bwMode="auto">
          <a:xfrm>
            <a:off x="10560080" y="4221414"/>
            <a:ext cx="358460" cy="358460"/>
          </a:xfrm>
          <a:custGeom>
            <a:avLst/>
            <a:gdLst>
              <a:gd name="T0" fmla="*/ 119 w 216"/>
              <a:gd name="T1" fmla="*/ 0 h 216"/>
              <a:gd name="T2" fmla="*/ 216 w 216"/>
              <a:gd name="T3" fmla="*/ 0 h 216"/>
              <a:gd name="T4" fmla="*/ 216 w 216"/>
              <a:gd name="T5" fmla="*/ 98 h 216"/>
              <a:gd name="T6" fmla="*/ 0 w 216"/>
              <a:gd name="T7" fmla="*/ 118 h 216"/>
              <a:gd name="T8" fmla="*/ 0 w 216"/>
              <a:gd name="T9" fmla="*/ 216 h 216"/>
              <a:gd name="T10" fmla="*/ 98 w 216"/>
              <a:gd name="T11" fmla="*/ 216 h 216"/>
              <a:gd name="T12" fmla="*/ 0 w 216"/>
              <a:gd name="T13" fmla="*/ 216 h 216"/>
              <a:gd name="T14" fmla="*/ 216 w 216"/>
              <a:gd name="T15" fmla="*/ 0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16">
                <a:moveTo>
                  <a:pt x="119" y="0"/>
                </a:moveTo>
                <a:lnTo>
                  <a:pt x="216" y="0"/>
                </a:lnTo>
                <a:lnTo>
                  <a:pt x="216" y="98"/>
                </a:lnTo>
                <a:moveTo>
                  <a:pt x="0" y="118"/>
                </a:moveTo>
                <a:lnTo>
                  <a:pt x="0" y="216"/>
                </a:lnTo>
                <a:lnTo>
                  <a:pt x="98" y="216"/>
                </a:lnTo>
                <a:moveTo>
                  <a:pt x="0" y="216"/>
                </a:moveTo>
                <a:lnTo>
                  <a:pt x="216" y="0"/>
                </a:lnTo>
              </a:path>
            </a:pathLst>
          </a:custGeom>
          <a:noFill/>
          <a:ln w="15875" cap="sq">
            <a:solidFill>
              <a:srgbClr val="FFFFFF"/>
            </a:solidFill>
            <a:prstDash val="solid"/>
            <a:miter lim="800000"/>
            <a:headEnd/>
            <a:tailEnd/>
          </a:ln>
        </p:spPr>
        <p:txBody>
          <a:bodyPr vert="horz" wrap="square" lIns="91439" tIns="45719" rIns="91439" bIns="45719" numCol="1" anchor="t" anchorCtr="0" compatLnSpc="1">
            <a:prstTxWarp prst="textNoShape">
              <a:avLst/>
            </a:prstTxWarp>
          </a:bodyPr>
          <a:lstStyle/>
          <a:p>
            <a:pPr defTabSz="932754"/>
            <a:endParaRPr lang="en-US" sz="900">
              <a:gradFill>
                <a:gsLst>
                  <a:gs pos="0">
                    <a:srgbClr val="505050"/>
                  </a:gs>
                  <a:gs pos="100000">
                    <a:srgbClr val="505050"/>
                  </a:gs>
                </a:gsLst>
                <a:lin ang="5400000" scaled="1"/>
              </a:gradFill>
              <a:latin typeface="Segoe UI Semilight"/>
            </a:endParaRPr>
          </a:p>
        </p:txBody>
      </p:sp>
      <p:sp>
        <p:nvSpPr>
          <p:cNvPr id="122" name="Oval 121"/>
          <p:cNvSpPr/>
          <p:nvPr/>
        </p:nvSpPr>
        <p:spPr bwMode="auto">
          <a:xfrm>
            <a:off x="4742793" y="3994670"/>
            <a:ext cx="839720" cy="83972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23" name="Group 122"/>
          <p:cNvGrpSpPr/>
          <p:nvPr/>
        </p:nvGrpSpPr>
        <p:grpSpPr>
          <a:xfrm>
            <a:off x="5556636" y="2049482"/>
            <a:ext cx="1056425" cy="1164338"/>
            <a:chOff x="6570009" y="1909040"/>
            <a:chExt cx="400496" cy="441407"/>
          </a:xfrm>
        </p:grpSpPr>
        <p:sp>
          <p:nvSpPr>
            <p:cNvPr id="124" name="Freeform: Shape 28">
              <a:extLst>
                <a:ext uri="{FF2B5EF4-FFF2-40B4-BE49-F238E27FC236}">
                  <a16:creationId xmlns:a16="http://schemas.microsoft.com/office/drawing/2014/main" id="{7E36D1A0-A7F8-476A-A1DA-DBEB028DBB67}"/>
                </a:ext>
              </a:extLst>
            </p:cNvPr>
            <p:cNvSpPr/>
            <p:nvPr/>
          </p:nvSpPr>
          <p:spPr>
            <a:xfrm>
              <a:off x="6570009" y="1909040"/>
              <a:ext cx="400496" cy="228240"/>
            </a:xfrm>
            <a:custGeom>
              <a:avLst/>
              <a:gdLst/>
              <a:ahLst/>
              <a:cxnLst/>
              <a:rect l="0" t="0" r="0" b="0"/>
              <a:pathLst>
                <a:path w="885825" h="504825">
                  <a:moveTo>
                    <a:pt x="21431" y="254794"/>
                  </a:moveTo>
                  <a:lnTo>
                    <a:pt x="443389" y="488156"/>
                  </a:lnTo>
                  <a:lnTo>
                    <a:pt x="866299" y="254794"/>
                  </a:lnTo>
                  <a:lnTo>
                    <a:pt x="443389" y="21431"/>
                  </a:lnTo>
                  <a:close/>
                </a:path>
              </a:pathLst>
            </a:custGeom>
            <a:noFill/>
            <a:ln w="19050" cap="rnd" cmpd="sng">
              <a:solidFill>
                <a:schemeClr val="accent3"/>
              </a:solidFill>
              <a:prstDash val="solid"/>
              <a:round/>
            </a:ln>
          </p:spPr>
          <p:txBody>
            <a:bodyPr/>
            <a:lstStyle/>
            <a:p>
              <a:pPr defTabSz="932754"/>
              <a:endParaRPr lang="en-US" sz="1836">
                <a:solidFill>
                  <a:srgbClr val="505050"/>
                </a:solidFill>
                <a:latin typeface="Segoe UI"/>
              </a:endParaRPr>
            </a:p>
          </p:txBody>
        </p:sp>
        <p:sp>
          <p:nvSpPr>
            <p:cNvPr id="125" name="Freeform: Shape 29">
              <a:extLst>
                <a:ext uri="{FF2B5EF4-FFF2-40B4-BE49-F238E27FC236}">
                  <a16:creationId xmlns:a16="http://schemas.microsoft.com/office/drawing/2014/main" id="{CB4820E6-E383-499D-A0B3-C4DF29BE5FE8}"/>
                </a:ext>
              </a:extLst>
            </p:cNvPr>
            <p:cNvSpPr/>
            <p:nvPr/>
          </p:nvSpPr>
          <p:spPr>
            <a:xfrm>
              <a:off x="6570009" y="2014547"/>
              <a:ext cx="206708" cy="335900"/>
            </a:xfrm>
            <a:custGeom>
              <a:avLst/>
              <a:gdLst/>
              <a:ahLst/>
              <a:cxnLst/>
              <a:rect l="0" t="0" r="0" b="0"/>
              <a:pathLst>
                <a:path w="457200" h="742950">
                  <a:moveTo>
                    <a:pt x="21431" y="21431"/>
                  </a:moveTo>
                  <a:lnTo>
                    <a:pt x="21431" y="489109"/>
                  </a:lnTo>
                  <a:lnTo>
                    <a:pt x="443389" y="722471"/>
                  </a:lnTo>
                  <a:lnTo>
                    <a:pt x="443389" y="254794"/>
                  </a:lnTo>
                  <a:close/>
                </a:path>
              </a:pathLst>
            </a:custGeom>
            <a:noFill/>
            <a:ln w="19050" cap="rnd" cmpd="sng">
              <a:solidFill>
                <a:schemeClr val="accent3"/>
              </a:solidFill>
              <a:prstDash val="solid"/>
              <a:round/>
            </a:ln>
          </p:spPr>
          <p:txBody>
            <a:bodyPr/>
            <a:lstStyle/>
            <a:p>
              <a:pPr defTabSz="932754"/>
              <a:endParaRPr lang="en-US" sz="1836">
                <a:solidFill>
                  <a:srgbClr val="505050"/>
                </a:solidFill>
                <a:latin typeface="Segoe UI"/>
              </a:endParaRPr>
            </a:p>
          </p:txBody>
        </p:sp>
        <p:sp>
          <p:nvSpPr>
            <p:cNvPr id="126" name="Freeform: Shape 30">
              <a:extLst>
                <a:ext uri="{FF2B5EF4-FFF2-40B4-BE49-F238E27FC236}">
                  <a16:creationId xmlns:a16="http://schemas.microsoft.com/office/drawing/2014/main" id="{BBB7E6C2-2D23-41D6-81C0-F02C986AD0DA}"/>
                </a:ext>
              </a:extLst>
            </p:cNvPr>
            <p:cNvSpPr/>
            <p:nvPr/>
          </p:nvSpPr>
          <p:spPr>
            <a:xfrm>
              <a:off x="6760783" y="2014547"/>
              <a:ext cx="206708" cy="335900"/>
            </a:xfrm>
            <a:custGeom>
              <a:avLst/>
              <a:gdLst/>
              <a:ahLst/>
              <a:cxnLst/>
              <a:rect l="0" t="0" r="0" b="0"/>
              <a:pathLst>
                <a:path w="457200" h="742950">
                  <a:moveTo>
                    <a:pt x="444341" y="21431"/>
                  </a:moveTo>
                  <a:lnTo>
                    <a:pt x="444341" y="489109"/>
                  </a:lnTo>
                  <a:lnTo>
                    <a:pt x="21431" y="722471"/>
                  </a:lnTo>
                  <a:lnTo>
                    <a:pt x="21431" y="254794"/>
                  </a:lnTo>
                  <a:close/>
                </a:path>
              </a:pathLst>
            </a:custGeom>
            <a:noFill/>
            <a:ln w="19050" cap="rnd" cmpd="sng">
              <a:solidFill>
                <a:schemeClr val="accent3"/>
              </a:solidFill>
              <a:prstDash val="solid"/>
              <a:round/>
            </a:ln>
          </p:spPr>
          <p:txBody>
            <a:bodyPr/>
            <a:lstStyle/>
            <a:p>
              <a:pPr defTabSz="932754"/>
              <a:endParaRPr lang="en-US" sz="1836">
                <a:solidFill>
                  <a:srgbClr val="505050"/>
                </a:solidFill>
                <a:latin typeface="Segoe UI"/>
              </a:endParaRPr>
            </a:p>
          </p:txBody>
        </p:sp>
      </p:grpSp>
      <p:sp>
        <p:nvSpPr>
          <p:cNvPr id="127" name="server_2" title="Icon of a server tower with a padlock on the lower right corner">
            <a:extLst>
              <a:ext uri="{FF2B5EF4-FFF2-40B4-BE49-F238E27FC236}">
                <a16:creationId xmlns:a16="http://schemas.microsoft.com/office/drawing/2014/main" id="{810F34DB-20BE-4F93-9CA3-DD84B002A3C5}"/>
              </a:ext>
            </a:extLst>
          </p:cNvPr>
          <p:cNvSpPr>
            <a:spLocks noChangeAspect="1" noEditPoints="1"/>
          </p:cNvSpPr>
          <p:nvPr/>
        </p:nvSpPr>
        <p:spPr bwMode="auto">
          <a:xfrm>
            <a:off x="5035119" y="4216877"/>
            <a:ext cx="316646" cy="393008"/>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2700" cap="sq" cmpd="sng">
            <a:solidFill>
              <a:schemeClr val="bg1"/>
            </a:solidFill>
            <a:prstDash val="solid"/>
            <a:miter lim="800000"/>
            <a:headEnd/>
            <a:tailEnd/>
          </a:ln>
          <a:extLst>
            <a:ext uri="{909E8E84-426E-40dd-AFC4-6F175D3DCCD1}">
              <a14:hiddenFill xmlns="" xmlns:a16="http://schemas.microsoft.com/office/drawing/2014/main" xmlns:p14="http://schemas.microsoft.com/office/powerpoint/2010/main" xmlns:mc="http://schemas.openxmlformats.org/markup-compatibility/2006" xmlns:a14="http://schemas.microsoft.com/office/drawing/2010/main">
                <a:solidFill>
                  <a:srgbClr val="FFFFFF"/>
                </a:solidFill>
              </a14:hiddenFill>
            </a:ext>
          </a:extLst>
        </p:spPr>
        <p:txBody>
          <a:bodyPr vert="horz" wrap="square" lIns="91439" tIns="45719" rIns="91439" bIns="45719" numCol="1" anchor="t" anchorCtr="0" compatLnSpc="1">
            <a:prstTxWarp prst="textNoShape">
              <a:avLst/>
            </a:prstTxWarp>
          </a:bodyPr>
          <a:lstStyle/>
          <a:p>
            <a:pPr defTabSz="932754"/>
            <a:endParaRPr lang="en-US" sz="900">
              <a:gradFill>
                <a:gsLst>
                  <a:gs pos="0">
                    <a:srgbClr val="505050"/>
                  </a:gs>
                  <a:gs pos="100000">
                    <a:srgbClr val="505050"/>
                  </a:gs>
                </a:gsLst>
              </a:gradFill>
              <a:latin typeface="Segoe UI Semilight"/>
            </a:endParaRPr>
          </a:p>
        </p:txBody>
      </p:sp>
    </p:spTree>
    <p:extLst>
      <p:ext uri="{BB962C8B-B14F-4D97-AF65-F5344CB8AC3E}">
        <p14:creationId xmlns:p14="http://schemas.microsoft.com/office/powerpoint/2010/main" val="137733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250"/>
                                  </p:stCondLst>
                                  <p:childTnLst>
                                    <p:set>
                                      <p:cBhvr>
                                        <p:cTn id="9" dur="1" fill="hold">
                                          <p:stCondLst>
                                            <p:cond delay="0"/>
                                          </p:stCondLst>
                                        </p:cTn>
                                        <p:tgtEl>
                                          <p:spTgt spid="61"/>
                                        </p:tgtEl>
                                        <p:attrNameLst>
                                          <p:attrName>style.visibility</p:attrName>
                                        </p:attrNameLst>
                                      </p:cBhvr>
                                      <p:to>
                                        <p:strVal val="visible"/>
                                      </p:to>
                                    </p:set>
                                    <p:animEffect transition="in" filter="fade">
                                      <p:cBhvr>
                                        <p:cTn id="10" dur="500"/>
                                        <p:tgtEl>
                                          <p:spTgt spid="61"/>
                                        </p:tgtEl>
                                      </p:cBhvr>
                                    </p:animEffect>
                                  </p:childTnLst>
                                </p:cTn>
                              </p:par>
                              <p:par>
                                <p:cTn id="11" presetID="10" presetClass="entr" presetSubtype="0" fill="hold" nodeType="withEffect">
                                  <p:stCondLst>
                                    <p:cond delay="250"/>
                                  </p:stCondLst>
                                  <p:childTnLst>
                                    <p:set>
                                      <p:cBhvr>
                                        <p:cTn id="12" dur="1" fill="hold">
                                          <p:stCondLst>
                                            <p:cond delay="0"/>
                                          </p:stCondLst>
                                        </p:cTn>
                                        <p:tgtEl>
                                          <p:spTgt spid="56"/>
                                        </p:tgtEl>
                                        <p:attrNameLst>
                                          <p:attrName>style.visibility</p:attrName>
                                        </p:attrNameLst>
                                      </p:cBhvr>
                                      <p:to>
                                        <p:strVal val="visible"/>
                                      </p:to>
                                    </p:set>
                                    <p:animEffect transition="in" filter="fade">
                                      <p:cBhvr>
                                        <p:cTn id="13" dur="500"/>
                                        <p:tgtEl>
                                          <p:spTgt spid="56"/>
                                        </p:tgtEl>
                                      </p:cBhvr>
                                    </p:animEffect>
                                  </p:childTnLst>
                                </p:cTn>
                              </p:par>
                              <p:par>
                                <p:cTn id="14" presetID="10" presetClass="entr" presetSubtype="0" fill="hold" nodeType="withEffect">
                                  <p:stCondLst>
                                    <p:cond delay="250"/>
                                  </p:stCondLst>
                                  <p:childTnLst>
                                    <p:set>
                                      <p:cBhvr>
                                        <p:cTn id="15" dur="1" fill="hold">
                                          <p:stCondLst>
                                            <p:cond delay="0"/>
                                          </p:stCondLst>
                                        </p:cTn>
                                        <p:tgtEl>
                                          <p:spTgt spid="57"/>
                                        </p:tgtEl>
                                        <p:attrNameLst>
                                          <p:attrName>style.visibility</p:attrName>
                                        </p:attrNameLst>
                                      </p:cBhvr>
                                      <p:to>
                                        <p:strVal val="visible"/>
                                      </p:to>
                                    </p:set>
                                    <p:animEffect transition="in" filter="fade">
                                      <p:cBhvr>
                                        <p:cTn id="16" dur="500"/>
                                        <p:tgtEl>
                                          <p:spTgt spid="57"/>
                                        </p:tgtEl>
                                      </p:cBhvr>
                                    </p:animEffect>
                                  </p:childTnLst>
                                </p:cTn>
                              </p:par>
                            </p:childTnLst>
                          </p:cTn>
                        </p:par>
                        <p:par>
                          <p:cTn id="17" fill="hold">
                            <p:stCondLst>
                              <p:cond delay="750"/>
                            </p:stCondLst>
                            <p:childTnLst>
                              <p:par>
                                <p:cTn id="18" presetID="22" presetClass="entr" presetSubtype="8" fill="hold" nodeType="afterEffect">
                                  <p:stCondLst>
                                    <p:cond delay="0"/>
                                  </p:stCondLst>
                                  <p:childTnLst>
                                    <p:set>
                                      <p:cBhvr>
                                        <p:cTn id="19" dur="1" fill="hold">
                                          <p:stCondLst>
                                            <p:cond delay="0"/>
                                          </p:stCondLst>
                                        </p:cTn>
                                        <p:tgtEl>
                                          <p:spTgt spid="51"/>
                                        </p:tgtEl>
                                        <p:attrNameLst>
                                          <p:attrName>style.visibility</p:attrName>
                                        </p:attrNameLst>
                                      </p:cBhvr>
                                      <p:to>
                                        <p:strVal val="visible"/>
                                      </p:to>
                                    </p:set>
                                    <p:animEffect transition="in" filter="wipe(left)">
                                      <p:cBhvr>
                                        <p:cTn id="20" dur="10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F66FF8-2A3A-491F-BA92-5FCD8A6452BF}"/>
              </a:ext>
            </a:extLst>
          </p:cNvPr>
          <p:cNvSpPr>
            <a:spLocks noGrp="1"/>
          </p:cNvSpPr>
          <p:nvPr>
            <p:ph type="title"/>
          </p:nvPr>
        </p:nvSpPr>
        <p:spPr/>
        <p:txBody>
          <a:bodyPr/>
          <a:lstStyle/>
          <a:p>
            <a:r>
              <a:rPr lang="en-US" sz="4400">
                <a:solidFill>
                  <a:schemeClr val="accent3"/>
                </a:solidFill>
              </a:rPr>
              <a:t>High performance DevOps companies achieve…</a:t>
            </a:r>
          </a:p>
        </p:txBody>
      </p:sp>
      <p:sp>
        <p:nvSpPr>
          <p:cNvPr id="5" name="Oval 4">
            <a:extLst>
              <a:ext uri="{FF2B5EF4-FFF2-40B4-BE49-F238E27FC236}">
                <a16:creationId xmlns:a16="http://schemas.microsoft.com/office/drawing/2014/main" id="{7DC79322-E155-48F1-8E16-8D93E80D38D6}"/>
              </a:ext>
              <a:ext uri="{C183D7F6-B498-43B3-948B-1728B52AA6E4}">
                <adec:decorative xmlns:adec="http://schemas.microsoft.com/office/drawing/2017/decorative" val="1"/>
              </a:ext>
            </a:extLst>
          </p:cNvPr>
          <p:cNvSpPr/>
          <p:nvPr/>
        </p:nvSpPr>
        <p:spPr bwMode="auto">
          <a:xfrm>
            <a:off x="4056131" y="1555526"/>
            <a:ext cx="4519475" cy="4519475"/>
          </a:xfrm>
          <a:prstGeom prst="ellipse">
            <a:avLst/>
          </a:prstGeom>
          <a:no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16FD833-5E5C-498C-8EED-F196F1D36EFE}"/>
              </a:ext>
              <a:ext uri="{C183D7F6-B498-43B3-948B-1728B52AA6E4}">
                <adec:decorative xmlns:adec="http://schemas.microsoft.com/office/drawing/2017/decorative" val="1"/>
              </a:ext>
            </a:extLst>
          </p:cNvPr>
          <p:cNvGrpSpPr/>
          <p:nvPr/>
        </p:nvGrpSpPr>
        <p:grpSpPr>
          <a:xfrm>
            <a:off x="4660726" y="2972711"/>
            <a:ext cx="3310287" cy="1685107"/>
            <a:chOff x="4472882" y="2898175"/>
            <a:chExt cx="3376665" cy="1718897"/>
          </a:xfrm>
        </p:grpSpPr>
        <p:sp>
          <p:nvSpPr>
            <p:cNvPr id="25" name="Business Trans large">
              <a:extLst>
                <a:ext uri="{FF2B5EF4-FFF2-40B4-BE49-F238E27FC236}">
                  <a16:creationId xmlns:a16="http://schemas.microsoft.com/office/drawing/2014/main" id="{2CD03AF8-A42D-4265-841D-677CF2D0243D}"/>
                </a:ext>
              </a:extLst>
            </p:cNvPr>
            <p:cNvSpPr txBox="1"/>
            <p:nvPr/>
          </p:nvSpPr>
          <p:spPr>
            <a:xfrm>
              <a:off x="4472882" y="3228293"/>
              <a:ext cx="3376665" cy="1058660"/>
            </a:xfrm>
            <a:prstGeom prst="rect">
              <a:avLst/>
            </a:prstGeom>
            <a:noFill/>
            <a:ln w="25400">
              <a:noFill/>
              <a:miter lim="800000"/>
            </a:ln>
          </p:spPr>
          <p:txBody>
            <a:bodyPr wrap="square" lIns="0" tIns="0" rIns="0" bIns="0" rtlCol="0" anchor="ctr">
              <a:noAutofit/>
            </a:bodyPr>
            <a:lstStyle/>
            <a:p>
              <a:pPr algn="ctr" defTabSz="914016">
                <a:lnSpc>
                  <a:spcPct val="90000"/>
                </a:lnSpc>
                <a:spcBef>
                  <a:spcPts val="784"/>
                </a:spcBef>
                <a:defRPr/>
              </a:pPr>
              <a:r>
                <a:rPr lang="en-US" sz="2353" spc="10">
                  <a:ln w="3175">
                    <a:noFill/>
                  </a:ln>
                  <a:solidFill>
                    <a:srgbClr val="0078D7"/>
                  </a:solidFill>
                  <a:cs typeface="Segoe UI Semilight" panose="020B0402040204020203" pitchFamily="34" charset="0"/>
                </a:rPr>
                <a:t>DevOps</a:t>
              </a:r>
            </a:p>
          </p:txBody>
        </p:sp>
        <p:grpSp>
          <p:nvGrpSpPr>
            <p:cNvPr id="26" name="Group 25">
              <a:extLst>
                <a:ext uri="{FF2B5EF4-FFF2-40B4-BE49-F238E27FC236}">
                  <a16:creationId xmlns:a16="http://schemas.microsoft.com/office/drawing/2014/main" id="{FDCCC534-5302-4D6B-A124-2A0A1474A37E}"/>
                </a:ext>
              </a:extLst>
            </p:cNvPr>
            <p:cNvGrpSpPr/>
            <p:nvPr/>
          </p:nvGrpSpPr>
          <p:grpSpPr>
            <a:xfrm>
              <a:off x="5404710" y="2898175"/>
              <a:ext cx="1513009" cy="1718897"/>
              <a:chOff x="13906501" y="3922655"/>
              <a:chExt cx="619125" cy="703377"/>
            </a:xfrm>
          </p:grpSpPr>
          <p:sp>
            <p:nvSpPr>
              <p:cNvPr id="27" name="Freeform 17">
                <a:extLst>
                  <a:ext uri="{FF2B5EF4-FFF2-40B4-BE49-F238E27FC236}">
                    <a16:creationId xmlns:a16="http://schemas.microsoft.com/office/drawing/2014/main" id="{9CADBCEA-1921-4FAE-BFB1-9D24D4C43353}"/>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28" name="Freeform 18">
                <a:extLst>
                  <a:ext uri="{FF2B5EF4-FFF2-40B4-BE49-F238E27FC236}">
                    <a16:creationId xmlns:a16="http://schemas.microsoft.com/office/drawing/2014/main" id="{274AEF39-62E1-4F35-AFD9-F77FCE551A6A}"/>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29" name="Line 19">
                <a:extLst>
                  <a:ext uri="{FF2B5EF4-FFF2-40B4-BE49-F238E27FC236}">
                    <a16:creationId xmlns:a16="http://schemas.microsoft.com/office/drawing/2014/main" id="{0EF69B14-10CF-4668-AE90-5214B8CC8BD2}"/>
                  </a:ext>
                </a:extLst>
              </p:cNvPr>
              <p:cNvSpPr>
                <a:spLocks noChangeShapeType="1"/>
              </p:cNvSpPr>
              <p:nvPr/>
            </p:nvSpPr>
            <p:spPr bwMode="auto">
              <a:xfrm>
                <a:off x="14216063" y="4221163"/>
                <a:ext cx="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0" name="Freeform 20">
                <a:extLst>
                  <a:ext uri="{FF2B5EF4-FFF2-40B4-BE49-F238E27FC236}">
                    <a16:creationId xmlns:a16="http://schemas.microsoft.com/office/drawing/2014/main" id="{B85D31B1-D40E-4FD5-94EB-BBABFDE34D6F}"/>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1" name="Line 21">
                <a:extLst>
                  <a:ext uri="{FF2B5EF4-FFF2-40B4-BE49-F238E27FC236}">
                    <a16:creationId xmlns:a16="http://schemas.microsoft.com/office/drawing/2014/main" id="{84A2EDF3-D329-4480-86A4-6146F91A126C}"/>
                  </a:ext>
                </a:extLst>
              </p:cNvPr>
              <p:cNvSpPr>
                <a:spLocks noChangeShapeType="1"/>
              </p:cNvSpPr>
              <p:nvPr/>
            </p:nvSpPr>
            <p:spPr bwMode="auto">
              <a:xfrm>
                <a:off x="14216063" y="3967163"/>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2" name="Freeform 22">
                <a:extLst>
                  <a:ext uri="{FF2B5EF4-FFF2-40B4-BE49-F238E27FC236}">
                    <a16:creationId xmlns:a16="http://schemas.microsoft.com/office/drawing/2014/main" id="{21035745-1781-456E-99B9-4BA49DB1E1DA}"/>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3" name="Line 23">
                <a:extLst>
                  <a:ext uri="{FF2B5EF4-FFF2-40B4-BE49-F238E27FC236}">
                    <a16:creationId xmlns:a16="http://schemas.microsoft.com/office/drawing/2014/main" id="{A8D8F7A0-BF14-4E15-9F67-699A471099A0}"/>
                  </a:ext>
                </a:extLst>
              </p:cNvPr>
              <p:cNvSpPr>
                <a:spLocks noChangeShapeType="1"/>
              </p:cNvSpPr>
              <p:nvPr/>
            </p:nvSpPr>
            <p:spPr bwMode="auto">
              <a:xfrm flipH="1">
                <a:off x="14177963" y="4581525"/>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grpSp>
      </p:grpSp>
      <p:sp>
        <p:nvSpPr>
          <p:cNvPr id="38" name="Rectangle 37">
            <a:extLst>
              <a:ext uri="{FF2B5EF4-FFF2-40B4-BE49-F238E27FC236}">
                <a16:creationId xmlns:a16="http://schemas.microsoft.com/office/drawing/2014/main" id="{6061EA94-CADE-4612-9B54-C2FF3F35947F}"/>
              </a:ext>
            </a:extLst>
          </p:cNvPr>
          <p:cNvSpPr/>
          <p:nvPr/>
        </p:nvSpPr>
        <p:spPr>
          <a:xfrm>
            <a:off x="1121919" y="3319160"/>
            <a:ext cx="2300246" cy="919098"/>
          </a:xfrm>
          <a:prstGeom prst="rect">
            <a:avLst/>
          </a:prstGeom>
        </p:spPr>
        <p:txBody>
          <a:bodyPr wrap="none">
            <a:spAutoFit/>
          </a:bodyPr>
          <a:lstStyle/>
          <a:p>
            <a:pPr algn="ctr" defTabSz="914016">
              <a:spcBef>
                <a:spcPts val="784"/>
              </a:spcBef>
              <a:defRPr/>
            </a:pPr>
            <a:r>
              <a:rPr lang="en-US" sz="2353" spc="10">
                <a:ln w="3175">
                  <a:noFill/>
                </a:ln>
                <a:latin typeface="+mj-lt"/>
                <a:cs typeface="Segoe UI Semilight" panose="020B0402040204020203" pitchFamily="34" charset="0"/>
              </a:rPr>
              <a:t>Faster</a:t>
            </a:r>
          </a:p>
          <a:p>
            <a:pPr algn="ctr" defTabSz="914016">
              <a:spcBef>
                <a:spcPts val="784"/>
              </a:spcBef>
              <a:defRPr/>
            </a:pPr>
            <a:r>
              <a:rPr lang="en-US" sz="2353" spc="10">
                <a:ln w="3175">
                  <a:noFill/>
                </a:ln>
                <a:latin typeface="+mj-lt"/>
                <a:cs typeface="Segoe UI Semilight" panose="020B0402040204020203" pitchFamily="34" charset="0"/>
              </a:rPr>
              <a:t>Time to Market</a:t>
            </a:r>
          </a:p>
        </p:txBody>
      </p:sp>
      <p:sp>
        <p:nvSpPr>
          <p:cNvPr id="39" name="Rectangle 38">
            <a:extLst>
              <a:ext uri="{FF2B5EF4-FFF2-40B4-BE49-F238E27FC236}">
                <a16:creationId xmlns:a16="http://schemas.microsoft.com/office/drawing/2014/main" id="{F6C09323-0A2E-4FBD-AC20-BB2EDC05B673}"/>
              </a:ext>
            </a:extLst>
          </p:cNvPr>
          <p:cNvSpPr/>
          <p:nvPr/>
        </p:nvSpPr>
        <p:spPr>
          <a:xfrm>
            <a:off x="9479936" y="3351871"/>
            <a:ext cx="1501630" cy="919098"/>
          </a:xfrm>
          <a:prstGeom prst="rect">
            <a:avLst/>
          </a:prstGeom>
        </p:spPr>
        <p:txBody>
          <a:bodyPr wrap="none">
            <a:spAutoFit/>
          </a:bodyPr>
          <a:lstStyle/>
          <a:p>
            <a:pPr algn="ctr" defTabSz="914016">
              <a:spcBef>
                <a:spcPts val="784"/>
              </a:spcBef>
              <a:defRPr/>
            </a:pPr>
            <a:r>
              <a:rPr lang="en-US" sz="2353" spc="10">
                <a:ln w="3175">
                  <a:noFill/>
                </a:ln>
                <a:latin typeface="+mj-lt"/>
                <a:cs typeface="Segoe UI Semilight" panose="020B0402040204020203" pitchFamily="34" charset="0"/>
              </a:rPr>
              <a:t>Increased</a:t>
            </a:r>
          </a:p>
          <a:p>
            <a:pPr algn="ctr" defTabSz="914016">
              <a:spcBef>
                <a:spcPts val="784"/>
              </a:spcBef>
              <a:defRPr/>
            </a:pPr>
            <a:r>
              <a:rPr lang="en-US" sz="2353" spc="10">
                <a:ln w="3175">
                  <a:noFill/>
                </a:ln>
                <a:latin typeface="+mj-lt"/>
                <a:cs typeface="Segoe UI Semilight" panose="020B0402040204020203" pitchFamily="34" charset="0"/>
              </a:rPr>
              <a:t>Revenue</a:t>
            </a:r>
          </a:p>
        </p:txBody>
      </p:sp>
      <p:sp>
        <p:nvSpPr>
          <p:cNvPr id="23" name="Rectangle 22">
            <a:extLst>
              <a:ext uri="{FF2B5EF4-FFF2-40B4-BE49-F238E27FC236}">
                <a16:creationId xmlns:a16="http://schemas.microsoft.com/office/drawing/2014/main" id="{81752A87-227E-4101-94BD-8D14C0077C37}"/>
              </a:ext>
            </a:extLst>
          </p:cNvPr>
          <p:cNvSpPr/>
          <p:nvPr/>
        </p:nvSpPr>
        <p:spPr>
          <a:xfrm>
            <a:off x="8706209" y="5207712"/>
            <a:ext cx="2843600" cy="919098"/>
          </a:xfrm>
          <a:prstGeom prst="rect">
            <a:avLst/>
          </a:prstGeom>
        </p:spPr>
        <p:txBody>
          <a:bodyPr wrap="none">
            <a:spAutoFit/>
          </a:bodyPr>
          <a:lstStyle/>
          <a:p>
            <a:pPr algn="ctr" defTabSz="914016">
              <a:spcBef>
                <a:spcPts val="784"/>
              </a:spcBef>
              <a:defRPr/>
            </a:pPr>
            <a:r>
              <a:rPr lang="en-US" sz="2353" spc="10">
                <a:ln w="3175">
                  <a:noFill/>
                </a:ln>
                <a:cs typeface="Segoe UI Semilight" panose="020B0402040204020203" pitchFamily="34" charset="0"/>
              </a:rPr>
              <a:t>2,604x Faster Mean </a:t>
            </a:r>
          </a:p>
          <a:p>
            <a:pPr algn="ctr" defTabSz="914016">
              <a:spcBef>
                <a:spcPts val="784"/>
              </a:spcBef>
              <a:defRPr/>
            </a:pPr>
            <a:r>
              <a:rPr lang="en-US" sz="2353" spc="10">
                <a:ln w="3175">
                  <a:noFill/>
                </a:ln>
                <a:cs typeface="Segoe UI Semilight" panose="020B0402040204020203" pitchFamily="34" charset="0"/>
              </a:rPr>
              <a:t>Time to Recover</a:t>
            </a:r>
          </a:p>
        </p:txBody>
      </p:sp>
      <p:sp>
        <p:nvSpPr>
          <p:cNvPr id="22" name="Rectangle 21">
            <a:extLst>
              <a:ext uri="{FF2B5EF4-FFF2-40B4-BE49-F238E27FC236}">
                <a16:creationId xmlns:a16="http://schemas.microsoft.com/office/drawing/2014/main" id="{7A8A15C5-B7F1-4597-A5F5-7AC33920BA22}"/>
              </a:ext>
            </a:extLst>
          </p:cNvPr>
          <p:cNvSpPr/>
          <p:nvPr/>
        </p:nvSpPr>
        <p:spPr>
          <a:xfrm>
            <a:off x="8829576" y="1703727"/>
            <a:ext cx="2596865" cy="919098"/>
          </a:xfrm>
          <a:prstGeom prst="rect">
            <a:avLst/>
          </a:prstGeom>
        </p:spPr>
        <p:txBody>
          <a:bodyPr wrap="none">
            <a:spAutoFit/>
          </a:bodyPr>
          <a:lstStyle/>
          <a:p>
            <a:pPr algn="ctr" defTabSz="914016">
              <a:spcBef>
                <a:spcPts val="784"/>
              </a:spcBef>
              <a:defRPr/>
            </a:pPr>
            <a:r>
              <a:rPr lang="en-US" sz="2353" spc="10" dirty="0">
                <a:ln w="3175">
                  <a:noFill/>
                </a:ln>
                <a:cs typeface="Segoe UI Semilight" panose="020B0402040204020203" pitchFamily="34" charset="0"/>
              </a:rPr>
              <a:t>106x Faster Lead </a:t>
            </a:r>
          </a:p>
          <a:p>
            <a:pPr algn="ctr" defTabSz="914016">
              <a:spcBef>
                <a:spcPts val="784"/>
              </a:spcBef>
              <a:defRPr/>
            </a:pPr>
            <a:r>
              <a:rPr lang="en-US" sz="2353" spc="10" dirty="0">
                <a:ln w="3175">
                  <a:noFill/>
                </a:ln>
                <a:cs typeface="Segoe UI Semilight" panose="020B0402040204020203" pitchFamily="34" charset="0"/>
              </a:rPr>
              <a:t>Time For Changes</a:t>
            </a:r>
          </a:p>
        </p:txBody>
      </p:sp>
      <p:sp>
        <p:nvSpPr>
          <p:cNvPr id="21" name="Rectangle 20">
            <a:extLst>
              <a:ext uri="{FF2B5EF4-FFF2-40B4-BE49-F238E27FC236}">
                <a16:creationId xmlns:a16="http://schemas.microsoft.com/office/drawing/2014/main" id="{075832FC-01B9-47A2-8C16-68681F37ED84}"/>
              </a:ext>
            </a:extLst>
          </p:cNvPr>
          <p:cNvSpPr/>
          <p:nvPr/>
        </p:nvSpPr>
        <p:spPr>
          <a:xfrm>
            <a:off x="1186462" y="5207712"/>
            <a:ext cx="2571345" cy="919098"/>
          </a:xfrm>
          <a:prstGeom prst="rect">
            <a:avLst/>
          </a:prstGeom>
        </p:spPr>
        <p:txBody>
          <a:bodyPr wrap="none">
            <a:spAutoFit/>
          </a:bodyPr>
          <a:lstStyle/>
          <a:p>
            <a:pPr algn="ctr" defTabSz="914016">
              <a:spcBef>
                <a:spcPts val="784"/>
              </a:spcBef>
              <a:defRPr/>
            </a:pPr>
            <a:r>
              <a:rPr lang="en-US" sz="2353" spc="10">
                <a:ln w="3175">
                  <a:noFill/>
                </a:ln>
                <a:cs typeface="Segoe UI Semilight" panose="020B0402040204020203" pitchFamily="34" charset="0"/>
              </a:rPr>
              <a:t>7x Lower Change </a:t>
            </a:r>
          </a:p>
          <a:p>
            <a:pPr algn="ctr" defTabSz="914016">
              <a:spcBef>
                <a:spcPts val="784"/>
              </a:spcBef>
              <a:defRPr/>
            </a:pPr>
            <a:r>
              <a:rPr lang="en-US" sz="2353" spc="10">
                <a:ln w="3175">
                  <a:noFill/>
                </a:ln>
                <a:cs typeface="Segoe UI Semilight" panose="020B0402040204020203" pitchFamily="34" charset="0"/>
              </a:rPr>
              <a:t>Failure Rate</a:t>
            </a:r>
          </a:p>
        </p:txBody>
      </p:sp>
      <p:sp>
        <p:nvSpPr>
          <p:cNvPr id="20" name="Rectangle 19">
            <a:extLst>
              <a:ext uri="{FF2B5EF4-FFF2-40B4-BE49-F238E27FC236}">
                <a16:creationId xmlns:a16="http://schemas.microsoft.com/office/drawing/2014/main" id="{A005ABE3-0CFB-4C21-880F-94F20C8A2865}"/>
              </a:ext>
            </a:extLst>
          </p:cNvPr>
          <p:cNvSpPr/>
          <p:nvPr/>
        </p:nvSpPr>
        <p:spPr>
          <a:xfrm>
            <a:off x="1199991" y="1776094"/>
            <a:ext cx="2544286" cy="919098"/>
          </a:xfrm>
          <a:prstGeom prst="rect">
            <a:avLst/>
          </a:prstGeom>
        </p:spPr>
        <p:txBody>
          <a:bodyPr wrap="none">
            <a:spAutoFit/>
          </a:bodyPr>
          <a:lstStyle/>
          <a:p>
            <a:pPr algn="ctr" defTabSz="914016">
              <a:spcBef>
                <a:spcPts val="784"/>
              </a:spcBef>
              <a:defRPr/>
            </a:pPr>
            <a:r>
              <a:rPr lang="en-US" sz="2353" spc="10" dirty="0">
                <a:ln w="3175">
                  <a:noFill/>
                </a:ln>
                <a:cs typeface="Segoe UI Semilight" panose="020B0402040204020203" pitchFamily="34" charset="0"/>
              </a:rPr>
              <a:t>208x Deployment</a:t>
            </a:r>
          </a:p>
          <a:p>
            <a:pPr algn="ctr" defTabSz="914016">
              <a:spcBef>
                <a:spcPts val="784"/>
              </a:spcBef>
              <a:defRPr/>
            </a:pPr>
            <a:r>
              <a:rPr lang="en-US" sz="2353" spc="10" dirty="0">
                <a:ln w="3175">
                  <a:noFill/>
                </a:ln>
                <a:cs typeface="Segoe UI Semilight" panose="020B0402040204020203" pitchFamily="34" charset="0"/>
              </a:rPr>
              <a:t>Frequency</a:t>
            </a:r>
          </a:p>
        </p:txBody>
      </p:sp>
      <p:grpSp>
        <p:nvGrpSpPr>
          <p:cNvPr id="45" name="Group 44">
            <a:extLst>
              <a:ext uri="{FF2B5EF4-FFF2-40B4-BE49-F238E27FC236}">
                <a16:creationId xmlns:a16="http://schemas.microsoft.com/office/drawing/2014/main" id="{B144ED3E-9381-4006-A68F-FF4F8A6683FB}"/>
              </a:ext>
              <a:ext uri="{C183D7F6-B498-43B3-948B-1728B52AA6E4}">
                <adec:decorative xmlns:adec="http://schemas.microsoft.com/office/drawing/2017/decorative" val="1"/>
              </a:ext>
            </a:extLst>
          </p:cNvPr>
          <p:cNvGrpSpPr/>
          <p:nvPr/>
        </p:nvGrpSpPr>
        <p:grpSpPr>
          <a:xfrm>
            <a:off x="3648325" y="3422695"/>
            <a:ext cx="852106" cy="852106"/>
            <a:chOff x="3440179" y="3387107"/>
            <a:chExt cx="869193" cy="869193"/>
          </a:xfrm>
        </p:grpSpPr>
        <p:sp>
          <p:nvSpPr>
            <p:cNvPr id="47" name="Oval 46">
              <a:extLst>
                <a:ext uri="{FF2B5EF4-FFF2-40B4-BE49-F238E27FC236}">
                  <a16:creationId xmlns:a16="http://schemas.microsoft.com/office/drawing/2014/main" id="{E9D1D0A9-2539-416C-8EFC-9AFA0BD6D4D3}"/>
                </a:ext>
              </a:extLst>
            </p:cNvPr>
            <p:cNvSpPr>
              <a:spLocks noChangeAspect="1"/>
            </p:cNvSpPr>
            <p:nvPr/>
          </p:nvSpPr>
          <p:spPr bwMode="auto">
            <a:xfrm>
              <a:off x="3440179" y="3387107"/>
              <a:ext cx="869193" cy="869193"/>
            </a:xfrm>
            <a:prstGeom prst="ellipse">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solidFill>
                  <a:srgbClr val="0078D7"/>
                </a:solidFill>
                <a:latin typeface="Segoe UI Semilight"/>
                <a:ea typeface="Segoe UI" pitchFamily="34" charset="0"/>
                <a:cs typeface="Segoe UI" pitchFamily="34" charset="0"/>
              </a:endParaRPr>
            </a:p>
          </p:txBody>
        </p:sp>
        <p:sp>
          <p:nvSpPr>
            <p:cNvPr id="48" name="speedometer_2">
              <a:extLst>
                <a:ext uri="{FF2B5EF4-FFF2-40B4-BE49-F238E27FC236}">
                  <a16:creationId xmlns:a16="http://schemas.microsoft.com/office/drawing/2014/main" id="{B718141A-4899-40CD-A4D7-21BEED8E5AFD}"/>
                </a:ext>
              </a:extLst>
            </p:cNvPr>
            <p:cNvSpPr>
              <a:spLocks noChangeAspect="1" noEditPoints="1"/>
            </p:cNvSpPr>
            <p:nvPr/>
          </p:nvSpPr>
          <p:spPr bwMode="auto">
            <a:xfrm>
              <a:off x="3619307" y="3566235"/>
              <a:ext cx="510936" cy="51093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cap="rnd">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a:defRPr/>
              </a:pPr>
              <a:endParaRPr lang="en-US" kern="0">
                <a:solidFill>
                  <a:schemeClr val="tx2"/>
                </a:solidFill>
                <a:latin typeface="Segoe UI Semilight"/>
              </a:endParaRPr>
            </a:p>
          </p:txBody>
        </p:sp>
      </p:grpSp>
      <p:grpSp>
        <p:nvGrpSpPr>
          <p:cNvPr id="49" name="Group 48">
            <a:extLst>
              <a:ext uri="{FF2B5EF4-FFF2-40B4-BE49-F238E27FC236}">
                <a16:creationId xmlns:a16="http://schemas.microsoft.com/office/drawing/2014/main" id="{89D3924E-F365-4B20-B920-D431785B28EB}"/>
              </a:ext>
              <a:ext uri="{C183D7F6-B498-43B3-948B-1728B52AA6E4}">
                <adec:decorative xmlns:adec="http://schemas.microsoft.com/office/drawing/2017/decorative" val="1"/>
              </a:ext>
            </a:extLst>
          </p:cNvPr>
          <p:cNvGrpSpPr/>
          <p:nvPr/>
        </p:nvGrpSpPr>
        <p:grpSpPr>
          <a:xfrm>
            <a:off x="8153686" y="3319160"/>
            <a:ext cx="852106" cy="1037849"/>
            <a:chOff x="8035882" y="3281497"/>
            <a:chExt cx="869193" cy="1058660"/>
          </a:xfrm>
        </p:grpSpPr>
        <p:sp>
          <p:nvSpPr>
            <p:cNvPr id="50" name="Oval 49">
              <a:extLst>
                <a:ext uri="{FF2B5EF4-FFF2-40B4-BE49-F238E27FC236}">
                  <a16:creationId xmlns:a16="http://schemas.microsoft.com/office/drawing/2014/main" id="{9C04F600-F0CD-497E-B8E0-AC21EE4850C7}"/>
                </a:ext>
              </a:extLst>
            </p:cNvPr>
            <p:cNvSpPr>
              <a:spLocks noChangeAspect="1"/>
            </p:cNvSpPr>
            <p:nvPr/>
          </p:nvSpPr>
          <p:spPr bwMode="auto">
            <a:xfrm>
              <a:off x="8035882" y="3365508"/>
              <a:ext cx="869193" cy="869193"/>
            </a:xfrm>
            <a:prstGeom prst="ellipse">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solidFill>
                  <a:srgbClr val="0078D7"/>
                </a:solidFill>
                <a:latin typeface="Segoe UI Semilight"/>
                <a:ea typeface="Segoe UI" pitchFamily="34" charset="0"/>
                <a:cs typeface="Segoe UI" pitchFamily="34" charset="0"/>
              </a:endParaRPr>
            </a:p>
          </p:txBody>
        </p:sp>
        <p:sp>
          <p:nvSpPr>
            <p:cNvPr id="52" name="Business Trans large">
              <a:extLst>
                <a:ext uri="{FF2B5EF4-FFF2-40B4-BE49-F238E27FC236}">
                  <a16:creationId xmlns:a16="http://schemas.microsoft.com/office/drawing/2014/main" id="{1A27732C-C27F-4468-945F-F18FAC15BB10}"/>
                </a:ext>
              </a:extLst>
            </p:cNvPr>
            <p:cNvSpPr txBox="1"/>
            <p:nvPr/>
          </p:nvSpPr>
          <p:spPr>
            <a:xfrm>
              <a:off x="8279682" y="3281497"/>
              <a:ext cx="376645" cy="1058660"/>
            </a:xfrm>
            <a:prstGeom prst="rect">
              <a:avLst/>
            </a:prstGeom>
            <a:noFill/>
            <a:ln w="25400">
              <a:noFill/>
              <a:miter lim="800000"/>
            </a:ln>
          </p:spPr>
          <p:txBody>
            <a:bodyPr wrap="square" lIns="0" tIns="0" rIns="0" bIns="0" rtlCol="0" anchor="ctr">
              <a:noAutofit/>
            </a:bodyPr>
            <a:lstStyle/>
            <a:p>
              <a:pPr algn="ctr" defTabSz="914016">
                <a:lnSpc>
                  <a:spcPct val="90000"/>
                </a:lnSpc>
                <a:spcBef>
                  <a:spcPts val="784"/>
                </a:spcBef>
                <a:defRPr/>
              </a:pPr>
              <a:r>
                <a:rPr lang="en-US" sz="3137" spc="10">
                  <a:ln w="3175">
                    <a:noFill/>
                  </a:ln>
                  <a:solidFill>
                    <a:schemeClr val="tx2"/>
                  </a:solidFill>
                  <a:latin typeface="+mj-lt"/>
                  <a:cs typeface="Segoe UI Light" panose="020B0502040204020203" pitchFamily="34" charset="0"/>
                </a:rPr>
                <a:t>$</a:t>
              </a:r>
              <a:endParaRPr lang="en-US" sz="2353" spc="10">
                <a:ln w="3175">
                  <a:noFill/>
                </a:ln>
                <a:solidFill>
                  <a:schemeClr val="tx2"/>
                </a:solidFill>
                <a:latin typeface="+mj-lt"/>
                <a:cs typeface="Segoe UI Light" panose="020B0502040204020203" pitchFamily="34" charset="0"/>
              </a:endParaRPr>
            </a:p>
          </p:txBody>
        </p:sp>
      </p:grpSp>
      <p:sp>
        <p:nvSpPr>
          <p:cNvPr id="58" name="Oval 57">
            <a:extLst>
              <a:ext uri="{FF2B5EF4-FFF2-40B4-BE49-F238E27FC236}">
                <a16:creationId xmlns:a16="http://schemas.microsoft.com/office/drawing/2014/main" id="{70E3DF0C-A06A-4929-B941-4EB13229A3A3}"/>
              </a:ext>
              <a:ext uri="{C183D7F6-B498-43B3-948B-1728B52AA6E4}">
                <adec:decorative xmlns:adec="http://schemas.microsoft.com/office/drawing/2017/decorative" val="1"/>
              </a:ext>
            </a:extLst>
          </p:cNvPr>
          <p:cNvSpPr>
            <a:spLocks noChangeAspect="1"/>
          </p:cNvSpPr>
          <p:nvPr/>
        </p:nvSpPr>
        <p:spPr bwMode="auto">
          <a:xfrm>
            <a:off x="7540587" y="5038127"/>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solidFill>
                <a:schemeClr val="tx2"/>
              </a:solidFill>
              <a:latin typeface="Segoe UI Semilight"/>
              <a:ea typeface="Segoe UI" pitchFamily="34" charset="0"/>
              <a:cs typeface="Segoe UI" pitchFamily="34" charset="0"/>
            </a:endParaRPr>
          </a:p>
        </p:txBody>
      </p:sp>
      <p:grpSp>
        <p:nvGrpSpPr>
          <p:cNvPr id="66" name="Group 65">
            <a:extLst>
              <a:ext uri="{FF2B5EF4-FFF2-40B4-BE49-F238E27FC236}">
                <a16:creationId xmlns:a16="http://schemas.microsoft.com/office/drawing/2014/main" id="{082DE540-D679-44C5-874C-E1BCD31C0BC9}"/>
              </a:ext>
              <a:ext uri="{C183D7F6-B498-43B3-948B-1728B52AA6E4}">
                <adec:decorative xmlns:adec="http://schemas.microsoft.com/office/drawing/2017/decorative" val="1"/>
              </a:ext>
            </a:extLst>
          </p:cNvPr>
          <p:cNvGrpSpPr/>
          <p:nvPr/>
        </p:nvGrpSpPr>
        <p:grpSpPr>
          <a:xfrm>
            <a:off x="7540587" y="1807263"/>
            <a:ext cx="852106" cy="852106"/>
            <a:chOff x="7540587" y="1807263"/>
            <a:chExt cx="852106" cy="852106"/>
          </a:xfrm>
        </p:grpSpPr>
        <p:sp>
          <p:nvSpPr>
            <p:cNvPr id="67" name="Oval 66">
              <a:extLst>
                <a:ext uri="{FF2B5EF4-FFF2-40B4-BE49-F238E27FC236}">
                  <a16:creationId xmlns:a16="http://schemas.microsoft.com/office/drawing/2014/main" id="{58ECDF98-883F-4F5E-BFAE-67F840B0EFF1}"/>
                </a:ext>
              </a:extLst>
            </p:cNvPr>
            <p:cNvSpPr>
              <a:spLocks noChangeAspect="1"/>
            </p:cNvSpPr>
            <p:nvPr/>
          </p:nvSpPr>
          <p:spPr bwMode="auto">
            <a:xfrm>
              <a:off x="7540587" y="1807263"/>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solidFill>
                  <a:srgbClr val="0078D7"/>
                </a:solidFill>
                <a:latin typeface="Segoe UI Semilight"/>
                <a:ea typeface="Segoe UI" pitchFamily="34" charset="0"/>
                <a:cs typeface="Segoe UI" pitchFamily="34" charset="0"/>
              </a:endParaRPr>
            </a:p>
          </p:txBody>
        </p:sp>
        <p:pic>
          <p:nvPicPr>
            <p:cNvPr id="68" name="Graphic 67">
              <a:extLst>
                <a:ext uri="{FF2B5EF4-FFF2-40B4-BE49-F238E27FC236}">
                  <a16:creationId xmlns:a16="http://schemas.microsoft.com/office/drawing/2014/main" id="{6462EA56-B94F-4AFA-818B-803246C94EC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65848" y="2015603"/>
              <a:ext cx="410330" cy="410330"/>
            </a:xfrm>
            <a:prstGeom prst="rect">
              <a:avLst/>
            </a:prstGeom>
          </p:spPr>
        </p:pic>
      </p:grpSp>
      <p:sp>
        <p:nvSpPr>
          <p:cNvPr id="69" name="Oval 68">
            <a:extLst>
              <a:ext uri="{FF2B5EF4-FFF2-40B4-BE49-F238E27FC236}">
                <a16:creationId xmlns:a16="http://schemas.microsoft.com/office/drawing/2014/main" id="{83286B22-A73D-49B0-B63D-7C9E6059880B}"/>
              </a:ext>
              <a:ext uri="{C183D7F6-B498-43B3-948B-1728B52AA6E4}">
                <adec:decorative xmlns:adec="http://schemas.microsoft.com/office/drawing/2017/decorative" val="1"/>
              </a:ext>
            </a:extLst>
          </p:cNvPr>
          <p:cNvSpPr>
            <a:spLocks noChangeAspect="1"/>
          </p:cNvSpPr>
          <p:nvPr/>
        </p:nvSpPr>
        <p:spPr bwMode="auto">
          <a:xfrm>
            <a:off x="4337735" y="5038127"/>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err="1">
              <a:solidFill>
                <a:srgbClr val="0078D7"/>
              </a:solidFill>
              <a:latin typeface="Segoe UI Semilight"/>
              <a:ea typeface="Segoe UI" pitchFamily="34" charset="0"/>
              <a:cs typeface="Segoe UI" pitchFamily="34" charset="0"/>
            </a:endParaRPr>
          </a:p>
        </p:txBody>
      </p:sp>
      <p:sp>
        <p:nvSpPr>
          <p:cNvPr id="70" name="Oval 69">
            <a:extLst>
              <a:ext uri="{FF2B5EF4-FFF2-40B4-BE49-F238E27FC236}">
                <a16:creationId xmlns:a16="http://schemas.microsoft.com/office/drawing/2014/main" id="{252D033A-ED0B-43A6-9265-1D0F8D8396E0}"/>
              </a:ext>
              <a:ext uri="{C183D7F6-B498-43B3-948B-1728B52AA6E4}">
                <adec:decorative xmlns:adec="http://schemas.microsoft.com/office/drawing/2017/decorative" val="1"/>
              </a:ext>
            </a:extLst>
          </p:cNvPr>
          <p:cNvSpPr>
            <a:spLocks noChangeAspect="1"/>
          </p:cNvSpPr>
          <p:nvPr/>
        </p:nvSpPr>
        <p:spPr bwMode="auto">
          <a:xfrm>
            <a:off x="4337735" y="1807263"/>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solidFill>
                <a:srgbClr val="0078D7"/>
              </a:solidFill>
              <a:latin typeface="Segoe UI Semilight"/>
              <a:ea typeface="Segoe UI" pitchFamily="34" charset="0"/>
              <a:cs typeface="Segoe UI" pitchFamily="34" charset="0"/>
            </a:endParaRPr>
          </a:p>
        </p:txBody>
      </p:sp>
      <p:pic>
        <p:nvPicPr>
          <p:cNvPr id="71" name="Graphic 70">
            <a:extLst>
              <a:ext uri="{FF2B5EF4-FFF2-40B4-BE49-F238E27FC236}">
                <a16:creationId xmlns:a16="http://schemas.microsoft.com/office/drawing/2014/main" id="{C45D29E2-CF16-46B5-ADCE-BD7AA1AA824F}"/>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61884" y="2001260"/>
            <a:ext cx="464111" cy="464111"/>
          </a:xfrm>
          <a:prstGeom prst="rect">
            <a:avLst/>
          </a:prstGeom>
        </p:spPr>
      </p:pic>
      <p:grpSp>
        <p:nvGrpSpPr>
          <p:cNvPr id="72" name="Graphic 50">
            <a:extLst>
              <a:ext uri="{FF2B5EF4-FFF2-40B4-BE49-F238E27FC236}">
                <a16:creationId xmlns:a16="http://schemas.microsoft.com/office/drawing/2014/main" id="{365A5FA5-4A17-4D78-829F-CF88ABE1DB23}"/>
              </a:ext>
              <a:ext uri="{C183D7F6-B498-43B3-948B-1728B52AA6E4}">
                <adec:decorative xmlns:adec="http://schemas.microsoft.com/office/drawing/2017/decorative" val="1"/>
              </a:ext>
            </a:extLst>
          </p:cNvPr>
          <p:cNvGrpSpPr/>
          <p:nvPr/>
        </p:nvGrpSpPr>
        <p:grpSpPr>
          <a:xfrm>
            <a:off x="4561884" y="5166524"/>
            <a:ext cx="397875" cy="500737"/>
            <a:chOff x="4561339" y="5170313"/>
            <a:chExt cx="397875" cy="500737"/>
          </a:xfrm>
        </p:grpSpPr>
        <p:sp>
          <p:nvSpPr>
            <p:cNvPr id="73" name="Freeform 2">
              <a:extLst>
                <a:ext uri="{FF2B5EF4-FFF2-40B4-BE49-F238E27FC236}">
                  <a16:creationId xmlns:a16="http://schemas.microsoft.com/office/drawing/2014/main" id="{1A082384-BE2C-4C0C-AD28-96F903899FD7}"/>
                </a:ext>
              </a:extLst>
            </p:cNvPr>
            <p:cNvSpPr/>
            <p:nvPr/>
          </p:nvSpPr>
          <p:spPr>
            <a:xfrm>
              <a:off x="4561339" y="5170313"/>
              <a:ext cx="392410" cy="418570"/>
            </a:xfrm>
            <a:custGeom>
              <a:avLst/>
              <a:gdLst>
                <a:gd name="connsiteX0" fmla="*/ 13314 w 392409"/>
                <a:gd name="connsiteY0" fmla="*/ 13314 h 418570"/>
                <a:gd name="connsiteX1" fmla="*/ 379563 w 392409"/>
                <a:gd name="connsiteY1" fmla="*/ 13314 h 418570"/>
                <a:gd name="connsiteX2" fmla="*/ 379563 w 392409"/>
                <a:gd name="connsiteY2" fmla="*/ 414920 h 418570"/>
                <a:gd name="connsiteX3" fmla="*/ 13314 w 392409"/>
                <a:gd name="connsiteY3" fmla="*/ 414920 h 418570"/>
              </a:gdLst>
              <a:ahLst/>
              <a:cxnLst>
                <a:cxn ang="0">
                  <a:pos x="connsiteX0" y="connsiteY0"/>
                </a:cxn>
                <a:cxn ang="0">
                  <a:pos x="connsiteX1" y="connsiteY1"/>
                </a:cxn>
                <a:cxn ang="0">
                  <a:pos x="connsiteX2" y="connsiteY2"/>
                </a:cxn>
                <a:cxn ang="0">
                  <a:pos x="connsiteX3" y="connsiteY3"/>
                </a:cxn>
              </a:cxnLst>
              <a:rect l="l" t="t" r="r" b="b"/>
              <a:pathLst>
                <a:path w="392409" h="418570">
                  <a:moveTo>
                    <a:pt x="13314" y="13314"/>
                  </a:moveTo>
                  <a:lnTo>
                    <a:pt x="379563" y="13314"/>
                  </a:lnTo>
                  <a:lnTo>
                    <a:pt x="379563" y="414920"/>
                  </a:lnTo>
                  <a:lnTo>
                    <a:pt x="13314" y="414920"/>
                  </a:lnTo>
                  <a:close/>
                </a:path>
              </a:pathLst>
            </a:custGeom>
            <a:solidFill>
              <a:schemeClr val="bg2">
                <a:alpha val="0"/>
              </a:schemeClr>
            </a:solidFill>
            <a:ln w="12927" cap="flat">
              <a:noFill/>
              <a:prstDash val="solid"/>
              <a:miter/>
            </a:ln>
          </p:spPr>
          <p:txBody>
            <a:bodyPr rtlCol="0" anchor="ctr"/>
            <a:lstStyle/>
            <a:p>
              <a:endParaRPr lang="en-US"/>
            </a:p>
          </p:txBody>
        </p:sp>
        <p:sp>
          <p:nvSpPr>
            <p:cNvPr id="74" name="Freeform 5">
              <a:extLst>
                <a:ext uri="{FF2B5EF4-FFF2-40B4-BE49-F238E27FC236}">
                  <a16:creationId xmlns:a16="http://schemas.microsoft.com/office/drawing/2014/main" id="{C5165A95-EF8C-424A-9623-D94315A85BDA}"/>
                </a:ext>
              </a:extLst>
            </p:cNvPr>
            <p:cNvSpPr/>
            <p:nvPr/>
          </p:nvSpPr>
          <p:spPr>
            <a:xfrm>
              <a:off x="4566804" y="5252480"/>
              <a:ext cx="392410" cy="418570"/>
            </a:xfrm>
            <a:custGeom>
              <a:avLst/>
              <a:gdLst>
                <a:gd name="connsiteX0" fmla="*/ 315796 w 392409"/>
                <a:gd name="connsiteY0" fmla="*/ 179679 h 418570"/>
                <a:gd name="connsiteX1" fmla="*/ 340730 w 392409"/>
                <a:gd name="connsiteY1" fmla="*/ 185402 h 418570"/>
                <a:gd name="connsiteX2" fmla="*/ 360964 w 392409"/>
                <a:gd name="connsiteY2" fmla="*/ 199299 h 418570"/>
                <a:gd name="connsiteX3" fmla="*/ 374454 w 392409"/>
                <a:gd name="connsiteY3" fmla="*/ 219943 h 418570"/>
                <a:gd name="connsiteX4" fmla="*/ 379563 w 392409"/>
                <a:gd name="connsiteY4" fmla="*/ 244876 h 418570"/>
                <a:gd name="connsiteX5" fmla="*/ 379563 w 392409"/>
                <a:gd name="connsiteY5" fmla="*/ 284117 h 418570"/>
                <a:gd name="connsiteX6" fmla="*/ 353402 w 392409"/>
                <a:gd name="connsiteY6" fmla="*/ 284117 h 418570"/>
                <a:gd name="connsiteX7" fmla="*/ 353402 w 392409"/>
                <a:gd name="connsiteY7" fmla="*/ 244876 h 418570"/>
                <a:gd name="connsiteX8" fmla="*/ 351154 w 392409"/>
                <a:gd name="connsiteY8" fmla="*/ 232410 h 418570"/>
                <a:gd name="connsiteX9" fmla="*/ 345227 w 392409"/>
                <a:gd name="connsiteY9" fmla="*/ 221372 h 418570"/>
                <a:gd name="connsiteX10" fmla="*/ 336234 w 392409"/>
                <a:gd name="connsiteY10" fmla="*/ 212789 h 418570"/>
                <a:gd name="connsiteX11" fmla="*/ 324585 w 392409"/>
                <a:gd name="connsiteY11" fmla="*/ 207271 h 418570"/>
                <a:gd name="connsiteX12" fmla="*/ 326424 w 392409"/>
                <a:gd name="connsiteY12" fmla="*/ 219533 h 418570"/>
                <a:gd name="connsiteX13" fmla="*/ 327242 w 392409"/>
                <a:gd name="connsiteY13" fmla="*/ 231796 h 418570"/>
                <a:gd name="connsiteX14" fmla="*/ 327242 w 392409"/>
                <a:gd name="connsiteY14" fmla="*/ 284117 h 418570"/>
                <a:gd name="connsiteX15" fmla="*/ 327038 w 392409"/>
                <a:gd name="connsiteY15" fmla="*/ 286774 h 418570"/>
                <a:gd name="connsiteX16" fmla="*/ 326628 w 392409"/>
                <a:gd name="connsiteY16" fmla="*/ 289431 h 418570"/>
                <a:gd name="connsiteX17" fmla="*/ 327855 w 392409"/>
                <a:gd name="connsiteY17" fmla="*/ 288205 h 418570"/>
                <a:gd name="connsiteX18" fmla="*/ 346658 w 392409"/>
                <a:gd name="connsiteY18" fmla="*/ 316410 h 418570"/>
                <a:gd name="connsiteX19" fmla="*/ 353198 w 392409"/>
                <a:gd name="connsiteY19" fmla="*/ 349723 h 418570"/>
                <a:gd name="connsiteX20" fmla="*/ 346658 w 392409"/>
                <a:gd name="connsiteY20" fmla="*/ 383037 h 418570"/>
                <a:gd name="connsiteX21" fmla="*/ 327855 w 392409"/>
                <a:gd name="connsiteY21" fmla="*/ 411037 h 418570"/>
                <a:gd name="connsiteX22" fmla="*/ 309460 w 392409"/>
                <a:gd name="connsiteY22" fmla="*/ 392644 h 418570"/>
                <a:gd name="connsiteX23" fmla="*/ 322541 w 392409"/>
                <a:gd name="connsiteY23" fmla="*/ 373227 h 418570"/>
                <a:gd name="connsiteX24" fmla="*/ 327038 w 392409"/>
                <a:gd name="connsiteY24" fmla="*/ 349927 h 418570"/>
                <a:gd name="connsiteX25" fmla="*/ 320701 w 392409"/>
                <a:gd name="connsiteY25" fmla="*/ 322950 h 418570"/>
                <a:gd name="connsiteX26" fmla="*/ 302103 w 392409"/>
                <a:gd name="connsiteY26" fmla="*/ 360351 h 418570"/>
                <a:gd name="connsiteX27" fmla="*/ 273693 w 392409"/>
                <a:gd name="connsiteY27" fmla="*/ 389374 h 418570"/>
                <a:gd name="connsiteX28" fmla="*/ 237518 w 392409"/>
                <a:gd name="connsiteY28" fmla="*/ 408176 h 418570"/>
                <a:gd name="connsiteX29" fmla="*/ 196438 w 392409"/>
                <a:gd name="connsiteY29" fmla="*/ 414921 h 418570"/>
                <a:gd name="connsiteX30" fmla="*/ 155154 w 392409"/>
                <a:gd name="connsiteY30" fmla="*/ 408176 h 418570"/>
                <a:gd name="connsiteX31" fmla="*/ 119183 w 392409"/>
                <a:gd name="connsiteY31" fmla="*/ 389374 h 418570"/>
                <a:gd name="connsiteX32" fmla="*/ 90570 w 392409"/>
                <a:gd name="connsiteY32" fmla="*/ 360351 h 418570"/>
                <a:gd name="connsiteX33" fmla="*/ 72175 w 392409"/>
                <a:gd name="connsiteY33" fmla="*/ 322950 h 418570"/>
                <a:gd name="connsiteX34" fmla="*/ 65840 w 392409"/>
                <a:gd name="connsiteY34" fmla="*/ 349927 h 418570"/>
                <a:gd name="connsiteX35" fmla="*/ 70336 w 392409"/>
                <a:gd name="connsiteY35" fmla="*/ 373227 h 418570"/>
                <a:gd name="connsiteX36" fmla="*/ 83416 w 392409"/>
                <a:gd name="connsiteY36" fmla="*/ 392644 h 418570"/>
                <a:gd name="connsiteX37" fmla="*/ 65022 w 392409"/>
                <a:gd name="connsiteY37" fmla="*/ 411037 h 418570"/>
                <a:gd name="connsiteX38" fmla="*/ 46015 w 392409"/>
                <a:gd name="connsiteY38" fmla="*/ 383037 h 418570"/>
                <a:gd name="connsiteX39" fmla="*/ 39475 w 392409"/>
                <a:gd name="connsiteY39" fmla="*/ 349723 h 418570"/>
                <a:gd name="connsiteX40" fmla="*/ 46015 w 392409"/>
                <a:gd name="connsiteY40" fmla="*/ 316410 h 418570"/>
                <a:gd name="connsiteX41" fmla="*/ 65022 w 392409"/>
                <a:gd name="connsiteY41" fmla="*/ 288205 h 418570"/>
                <a:gd name="connsiteX42" fmla="*/ 66248 w 392409"/>
                <a:gd name="connsiteY42" fmla="*/ 289431 h 418570"/>
                <a:gd name="connsiteX43" fmla="*/ 65840 w 392409"/>
                <a:gd name="connsiteY43" fmla="*/ 286774 h 418570"/>
                <a:gd name="connsiteX44" fmla="*/ 65635 w 392409"/>
                <a:gd name="connsiteY44" fmla="*/ 284117 h 418570"/>
                <a:gd name="connsiteX45" fmla="*/ 65635 w 392409"/>
                <a:gd name="connsiteY45" fmla="*/ 231796 h 418570"/>
                <a:gd name="connsiteX46" fmla="*/ 66248 w 392409"/>
                <a:gd name="connsiteY46" fmla="*/ 219533 h 418570"/>
                <a:gd name="connsiteX47" fmla="*/ 68292 w 392409"/>
                <a:gd name="connsiteY47" fmla="*/ 207271 h 418570"/>
                <a:gd name="connsiteX48" fmla="*/ 56642 w 392409"/>
                <a:gd name="connsiteY48" fmla="*/ 212789 h 418570"/>
                <a:gd name="connsiteX49" fmla="*/ 47445 w 392409"/>
                <a:gd name="connsiteY49" fmla="*/ 221372 h 418570"/>
                <a:gd name="connsiteX50" fmla="*/ 41518 w 392409"/>
                <a:gd name="connsiteY50" fmla="*/ 232410 h 418570"/>
                <a:gd name="connsiteX51" fmla="*/ 39475 w 392409"/>
                <a:gd name="connsiteY51" fmla="*/ 244876 h 418570"/>
                <a:gd name="connsiteX52" fmla="*/ 39475 w 392409"/>
                <a:gd name="connsiteY52" fmla="*/ 284117 h 418570"/>
                <a:gd name="connsiteX53" fmla="*/ 13314 w 392409"/>
                <a:gd name="connsiteY53" fmla="*/ 284117 h 418570"/>
                <a:gd name="connsiteX54" fmla="*/ 13314 w 392409"/>
                <a:gd name="connsiteY54" fmla="*/ 244876 h 418570"/>
                <a:gd name="connsiteX55" fmla="*/ 18219 w 392409"/>
                <a:gd name="connsiteY55" fmla="*/ 219943 h 418570"/>
                <a:gd name="connsiteX56" fmla="*/ 31913 w 392409"/>
                <a:gd name="connsiteY56" fmla="*/ 199299 h 418570"/>
                <a:gd name="connsiteX57" fmla="*/ 52146 w 392409"/>
                <a:gd name="connsiteY57" fmla="*/ 185402 h 418570"/>
                <a:gd name="connsiteX58" fmla="*/ 77080 w 392409"/>
                <a:gd name="connsiteY58" fmla="*/ 179679 h 418570"/>
                <a:gd name="connsiteX59" fmla="*/ 93431 w 392409"/>
                <a:gd name="connsiteY59" fmla="*/ 152087 h 418570"/>
                <a:gd name="connsiteX60" fmla="*/ 71767 w 392409"/>
                <a:gd name="connsiteY60" fmla="*/ 144322 h 418570"/>
                <a:gd name="connsiteX61" fmla="*/ 54803 w 392409"/>
                <a:gd name="connsiteY61" fmla="*/ 129810 h 418570"/>
                <a:gd name="connsiteX62" fmla="*/ 43562 w 392409"/>
                <a:gd name="connsiteY62" fmla="*/ 110599 h 418570"/>
                <a:gd name="connsiteX63" fmla="*/ 39475 w 392409"/>
                <a:gd name="connsiteY63" fmla="*/ 87913 h 418570"/>
                <a:gd name="connsiteX64" fmla="*/ 39475 w 392409"/>
                <a:gd name="connsiteY64" fmla="*/ 48672 h 418570"/>
                <a:gd name="connsiteX65" fmla="*/ 65635 w 392409"/>
                <a:gd name="connsiteY65" fmla="*/ 48672 h 418570"/>
                <a:gd name="connsiteX66" fmla="*/ 65635 w 392409"/>
                <a:gd name="connsiteY66" fmla="*/ 87913 h 418570"/>
                <a:gd name="connsiteX67" fmla="*/ 68701 w 392409"/>
                <a:gd name="connsiteY67" fmla="*/ 103241 h 418570"/>
                <a:gd name="connsiteX68" fmla="*/ 77080 w 392409"/>
                <a:gd name="connsiteY68" fmla="*/ 115708 h 418570"/>
                <a:gd name="connsiteX69" fmla="*/ 89548 w 392409"/>
                <a:gd name="connsiteY69" fmla="*/ 124088 h 418570"/>
                <a:gd name="connsiteX70" fmla="*/ 104876 w 392409"/>
                <a:gd name="connsiteY70" fmla="*/ 127154 h 418570"/>
                <a:gd name="connsiteX71" fmla="*/ 117956 w 392409"/>
                <a:gd name="connsiteY71" fmla="*/ 127154 h 418570"/>
                <a:gd name="connsiteX72" fmla="*/ 117956 w 392409"/>
                <a:gd name="connsiteY72" fmla="*/ 127767 h 418570"/>
                <a:gd name="connsiteX73" fmla="*/ 137577 w 392409"/>
                <a:gd name="connsiteY73" fmla="*/ 115708 h 418570"/>
                <a:gd name="connsiteX74" fmla="*/ 132672 w 392409"/>
                <a:gd name="connsiteY74" fmla="*/ 102219 h 418570"/>
                <a:gd name="connsiteX75" fmla="*/ 131037 w 392409"/>
                <a:gd name="connsiteY75" fmla="*/ 87913 h 418570"/>
                <a:gd name="connsiteX76" fmla="*/ 137373 w 392409"/>
                <a:gd name="connsiteY76" fmla="*/ 60321 h 418570"/>
                <a:gd name="connsiteX77" fmla="*/ 108759 w 392409"/>
                <a:gd name="connsiteY77" fmla="*/ 31708 h 418570"/>
                <a:gd name="connsiteX78" fmla="*/ 127154 w 392409"/>
                <a:gd name="connsiteY78" fmla="*/ 13314 h 418570"/>
                <a:gd name="connsiteX79" fmla="*/ 153110 w 392409"/>
                <a:gd name="connsiteY79" fmla="*/ 39270 h 418570"/>
                <a:gd name="connsiteX80" fmla="*/ 173140 w 392409"/>
                <a:gd name="connsiteY80" fmla="*/ 27007 h 418570"/>
                <a:gd name="connsiteX81" fmla="*/ 196438 w 392409"/>
                <a:gd name="connsiteY81" fmla="*/ 22511 h 418570"/>
                <a:gd name="connsiteX82" fmla="*/ 219533 w 392409"/>
                <a:gd name="connsiteY82" fmla="*/ 27007 h 418570"/>
                <a:gd name="connsiteX83" fmla="*/ 239767 w 392409"/>
                <a:gd name="connsiteY83" fmla="*/ 39270 h 418570"/>
                <a:gd name="connsiteX84" fmla="*/ 265724 w 392409"/>
                <a:gd name="connsiteY84" fmla="*/ 13314 h 418570"/>
                <a:gd name="connsiteX85" fmla="*/ 284117 w 392409"/>
                <a:gd name="connsiteY85" fmla="*/ 31708 h 418570"/>
                <a:gd name="connsiteX86" fmla="*/ 255504 w 392409"/>
                <a:gd name="connsiteY86" fmla="*/ 60321 h 418570"/>
                <a:gd name="connsiteX87" fmla="*/ 261840 w 392409"/>
                <a:gd name="connsiteY87" fmla="*/ 87913 h 418570"/>
                <a:gd name="connsiteX88" fmla="*/ 260001 w 392409"/>
                <a:gd name="connsiteY88" fmla="*/ 102219 h 418570"/>
                <a:gd name="connsiteX89" fmla="*/ 255300 w 392409"/>
                <a:gd name="connsiteY89" fmla="*/ 115708 h 418570"/>
                <a:gd name="connsiteX90" fmla="*/ 265314 w 392409"/>
                <a:gd name="connsiteY90" fmla="*/ 121431 h 418570"/>
                <a:gd name="connsiteX91" fmla="*/ 274920 w 392409"/>
                <a:gd name="connsiteY91" fmla="*/ 127767 h 418570"/>
                <a:gd name="connsiteX92" fmla="*/ 274920 w 392409"/>
                <a:gd name="connsiteY92" fmla="*/ 127154 h 418570"/>
                <a:gd name="connsiteX93" fmla="*/ 288001 w 392409"/>
                <a:gd name="connsiteY93" fmla="*/ 127154 h 418570"/>
                <a:gd name="connsiteX94" fmla="*/ 303329 w 392409"/>
                <a:gd name="connsiteY94" fmla="*/ 124088 h 418570"/>
                <a:gd name="connsiteX95" fmla="*/ 315796 w 392409"/>
                <a:gd name="connsiteY95" fmla="*/ 115708 h 418570"/>
                <a:gd name="connsiteX96" fmla="*/ 324176 w 392409"/>
                <a:gd name="connsiteY96" fmla="*/ 103241 h 418570"/>
                <a:gd name="connsiteX97" fmla="*/ 327242 w 392409"/>
                <a:gd name="connsiteY97" fmla="*/ 87913 h 418570"/>
                <a:gd name="connsiteX98" fmla="*/ 327242 w 392409"/>
                <a:gd name="connsiteY98" fmla="*/ 48672 h 418570"/>
                <a:gd name="connsiteX99" fmla="*/ 353402 w 392409"/>
                <a:gd name="connsiteY99" fmla="*/ 48672 h 418570"/>
                <a:gd name="connsiteX100" fmla="*/ 353402 w 392409"/>
                <a:gd name="connsiteY100" fmla="*/ 87913 h 418570"/>
                <a:gd name="connsiteX101" fmla="*/ 349315 w 392409"/>
                <a:gd name="connsiteY101" fmla="*/ 110599 h 418570"/>
                <a:gd name="connsiteX102" fmla="*/ 338073 w 392409"/>
                <a:gd name="connsiteY102" fmla="*/ 129810 h 418570"/>
                <a:gd name="connsiteX103" fmla="*/ 320906 w 392409"/>
                <a:gd name="connsiteY103" fmla="*/ 144322 h 418570"/>
                <a:gd name="connsiteX104" fmla="*/ 299446 w 392409"/>
                <a:gd name="connsiteY104" fmla="*/ 152087 h 418570"/>
                <a:gd name="connsiteX105" fmla="*/ 315796 w 392409"/>
                <a:gd name="connsiteY105" fmla="*/ 179679 h 418570"/>
                <a:gd name="connsiteX106" fmla="*/ 196438 w 392409"/>
                <a:gd name="connsiteY106" fmla="*/ 48672 h 418570"/>
                <a:gd name="connsiteX107" fmla="*/ 181110 w 392409"/>
                <a:gd name="connsiteY107" fmla="*/ 51737 h 418570"/>
                <a:gd name="connsiteX108" fmla="*/ 168643 w 392409"/>
                <a:gd name="connsiteY108" fmla="*/ 60117 h 418570"/>
                <a:gd name="connsiteX109" fmla="*/ 160263 w 392409"/>
                <a:gd name="connsiteY109" fmla="*/ 72584 h 418570"/>
                <a:gd name="connsiteX110" fmla="*/ 157197 w 392409"/>
                <a:gd name="connsiteY110" fmla="*/ 87913 h 418570"/>
                <a:gd name="connsiteX111" fmla="*/ 162103 w 392409"/>
                <a:gd name="connsiteY111" fmla="*/ 106307 h 418570"/>
                <a:gd name="connsiteX112" fmla="*/ 179066 w 392409"/>
                <a:gd name="connsiteY112" fmla="*/ 102832 h 418570"/>
                <a:gd name="connsiteX113" fmla="*/ 196438 w 392409"/>
                <a:gd name="connsiteY113" fmla="*/ 101402 h 418570"/>
                <a:gd name="connsiteX114" fmla="*/ 213606 w 392409"/>
                <a:gd name="connsiteY114" fmla="*/ 102832 h 418570"/>
                <a:gd name="connsiteX115" fmla="*/ 230774 w 392409"/>
                <a:gd name="connsiteY115" fmla="*/ 106307 h 418570"/>
                <a:gd name="connsiteX116" fmla="*/ 235679 w 392409"/>
                <a:gd name="connsiteY116" fmla="*/ 87913 h 418570"/>
                <a:gd name="connsiteX117" fmla="*/ 232613 w 392409"/>
                <a:gd name="connsiteY117" fmla="*/ 72584 h 418570"/>
                <a:gd name="connsiteX118" fmla="*/ 224234 w 392409"/>
                <a:gd name="connsiteY118" fmla="*/ 60117 h 418570"/>
                <a:gd name="connsiteX119" fmla="*/ 211767 w 392409"/>
                <a:gd name="connsiteY119" fmla="*/ 51737 h 418570"/>
                <a:gd name="connsiteX120" fmla="*/ 196438 w 392409"/>
                <a:gd name="connsiteY120" fmla="*/ 48672 h 418570"/>
                <a:gd name="connsiteX121" fmla="*/ 301081 w 392409"/>
                <a:gd name="connsiteY121" fmla="*/ 231796 h 418570"/>
                <a:gd name="connsiteX122" fmla="*/ 292702 w 392409"/>
                <a:gd name="connsiteY122" fmla="*/ 191534 h 418570"/>
                <a:gd name="connsiteX123" fmla="*/ 270015 w 392409"/>
                <a:gd name="connsiteY123" fmla="*/ 158219 h 418570"/>
                <a:gd name="connsiteX124" fmla="*/ 236906 w 392409"/>
                <a:gd name="connsiteY124" fmla="*/ 135533 h 418570"/>
                <a:gd name="connsiteX125" fmla="*/ 196438 w 392409"/>
                <a:gd name="connsiteY125" fmla="*/ 127154 h 418570"/>
                <a:gd name="connsiteX126" fmla="*/ 155971 w 392409"/>
                <a:gd name="connsiteY126" fmla="*/ 135533 h 418570"/>
                <a:gd name="connsiteX127" fmla="*/ 122657 w 392409"/>
                <a:gd name="connsiteY127" fmla="*/ 158219 h 418570"/>
                <a:gd name="connsiteX128" fmla="*/ 100175 w 392409"/>
                <a:gd name="connsiteY128" fmla="*/ 191534 h 418570"/>
                <a:gd name="connsiteX129" fmla="*/ 91796 w 392409"/>
                <a:gd name="connsiteY129" fmla="*/ 231796 h 418570"/>
                <a:gd name="connsiteX130" fmla="*/ 91796 w 392409"/>
                <a:gd name="connsiteY130" fmla="*/ 284117 h 418570"/>
                <a:gd name="connsiteX131" fmla="*/ 99971 w 392409"/>
                <a:gd name="connsiteY131" fmla="*/ 324789 h 418570"/>
                <a:gd name="connsiteX132" fmla="*/ 122453 w 392409"/>
                <a:gd name="connsiteY132" fmla="*/ 358102 h 418570"/>
                <a:gd name="connsiteX133" fmla="*/ 155766 w 392409"/>
                <a:gd name="connsiteY133" fmla="*/ 380585 h 418570"/>
                <a:gd name="connsiteX134" fmla="*/ 196438 w 392409"/>
                <a:gd name="connsiteY134" fmla="*/ 388760 h 418570"/>
                <a:gd name="connsiteX135" fmla="*/ 237110 w 392409"/>
                <a:gd name="connsiteY135" fmla="*/ 380585 h 418570"/>
                <a:gd name="connsiteX136" fmla="*/ 270219 w 392409"/>
                <a:gd name="connsiteY136" fmla="*/ 358102 h 418570"/>
                <a:gd name="connsiteX137" fmla="*/ 292702 w 392409"/>
                <a:gd name="connsiteY137" fmla="*/ 324789 h 418570"/>
                <a:gd name="connsiteX138" fmla="*/ 301081 w 392409"/>
                <a:gd name="connsiteY138" fmla="*/ 284117 h 418570"/>
                <a:gd name="connsiteX139" fmla="*/ 301081 w 392409"/>
                <a:gd name="connsiteY139" fmla="*/ 231796 h 41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392409" h="418570">
                  <a:moveTo>
                    <a:pt x="315796" y="179679"/>
                  </a:moveTo>
                  <a:cubicBezTo>
                    <a:pt x="324653" y="179952"/>
                    <a:pt x="332964" y="181859"/>
                    <a:pt x="340730" y="185402"/>
                  </a:cubicBezTo>
                  <a:cubicBezTo>
                    <a:pt x="348497" y="188808"/>
                    <a:pt x="355241" y="193441"/>
                    <a:pt x="360964" y="199299"/>
                  </a:cubicBezTo>
                  <a:cubicBezTo>
                    <a:pt x="366687" y="205158"/>
                    <a:pt x="371184" y="212040"/>
                    <a:pt x="374454" y="219943"/>
                  </a:cubicBezTo>
                  <a:cubicBezTo>
                    <a:pt x="377860" y="227709"/>
                    <a:pt x="379563" y="236020"/>
                    <a:pt x="379563" y="244876"/>
                  </a:cubicBezTo>
                  <a:lnTo>
                    <a:pt x="379563" y="284117"/>
                  </a:lnTo>
                  <a:lnTo>
                    <a:pt x="353402" y="284117"/>
                  </a:lnTo>
                  <a:lnTo>
                    <a:pt x="353402" y="244876"/>
                  </a:lnTo>
                  <a:cubicBezTo>
                    <a:pt x="353402" y="240517"/>
                    <a:pt x="352653" y="236361"/>
                    <a:pt x="351154" y="232410"/>
                  </a:cubicBezTo>
                  <a:cubicBezTo>
                    <a:pt x="349792" y="228322"/>
                    <a:pt x="347816" y="224643"/>
                    <a:pt x="345227" y="221372"/>
                  </a:cubicBezTo>
                  <a:cubicBezTo>
                    <a:pt x="342775" y="217966"/>
                    <a:pt x="339776" y="215106"/>
                    <a:pt x="336234" y="212789"/>
                  </a:cubicBezTo>
                  <a:cubicBezTo>
                    <a:pt x="332692" y="210337"/>
                    <a:pt x="328809" y="208497"/>
                    <a:pt x="324585" y="207271"/>
                  </a:cubicBezTo>
                  <a:cubicBezTo>
                    <a:pt x="325403" y="211222"/>
                    <a:pt x="326015" y="215310"/>
                    <a:pt x="326424" y="219533"/>
                  </a:cubicBezTo>
                  <a:cubicBezTo>
                    <a:pt x="326970" y="223621"/>
                    <a:pt x="327242" y="227709"/>
                    <a:pt x="327242" y="231796"/>
                  </a:cubicBezTo>
                  <a:lnTo>
                    <a:pt x="327242" y="284117"/>
                  </a:lnTo>
                  <a:cubicBezTo>
                    <a:pt x="327242" y="285071"/>
                    <a:pt x="327174" y="285957"/>
                    <a:pt x="327038" y="286774"/>
                  </a:cubicBezTo>
                  <a:cubicBezTo>
                    <a:pt x="326902" y="287592"/>
                    <a:pt x="326764" y="288477"/>
                    <a:pt x="326628" y="289431"/>
                  </a:cubicBezTo>
                  <a:lnTo>
                    <a:pt x="327855" y="288205"/>
                  </a:lnTo>
                  <a:cubicBezTo>
                    <a:pt x="336030" y="296380"/>
                    <a:pt x="342297" y="305781"/>
                    <a:pt x="346658" y="316410"/>
                  </a:cubicBezTo>
                  <a:cubicBezTo>
                    <a:pt x="351018" y="327037"/>
                    <a:pt x="353198" y="338142"/>
                    <a:pt x="353198" y="349723"/>
                  </a:cubicBezTo>
                  <a:cubicBezTo>
                    <a:pt x="353198" y="361304"/>
                    <a:pt x="351018" y="372410"/>
                    <a:pt x="346658" y="383037"/>
                  </a:cubicBezTo>
                  <a:cubicBezTo>
                    <a:pt x="342297" y="393529"/>
                    <a:pt x="336030" y="402862"/>
                    <a:pt x="327855" y="411037"/>
                  </a:cubicBezTo>
                  <a:lnTo>
                    <a:pt x="309460" y="392644"/>
                  </a:lnTo>
                  <a:cubicBezTo>
                    <a:pt x="315183" y="386921"/>
                    <a:pt x="319544" y="380449"/>
                    <a:pt x="322541" y="373227"/>
                  </a:cubicBezTo>
                  <a:cubicBezTo>
                    <a:pt x="325539" y="365869"/>
                    <a:pt x="327038" y="358102"/>
                    <a:pt x="327038" y="349927"/>
                  </a:cubicBezTo>
                  <a:cubicBezTo>
                    <a:pt x="327038" y="340662"/>
                    <a:pt x="324925" y="331670"/>
                    <a:pt x="320701" y="322950"/>
                  </a:cubicBezTo>
                  <a:cubicBezTo>
                    <a:pt x="316478" y="336575"/>
                    <a:pt x="310278" y="349042"/>
                    <a:pt x="302103" y="360351"/>
                  </a:cubicBezTo>
                  <a:cubicBezTo>
                    <a:pt x="294063" y="371660"/>
                    <a:pt x="284595" y="381334"/>
                    <a:pt x="273693" y="389374"/>
                  </a:cubicBezTo>
                  <a:cubicBezTo>
                    <a:pt x="262794" y="397413"/>
                    <a:pt x="250735" y="403679"/>
                    <a:pt x="237518" y="408176"/>
                  </a:cubicBezTo>
                  <a:cubicBezTo>
                    <a:pt x="224438" y="412672"/>
                    <a:pt x="210746" y="414921"/>
                    <a:pt x="196438" y="414921"/>
                  </a:cubicBezTo>
                  <a:cubicBezTo>
                    <a:pt x="182131" y="414921"/>
                    <a:pt x="168371" y="412672"/>
                    <a:pt x="155154" y="408176"/>
                  </a:cubicBezTo>
                  <a:cubicBezTo>
                    <a:pt x="142073" y="403679"/>
                    <a:pt x="130083" y="397413"/>
                    <a:pt x="119183" y="389374"/>
                  </a:cubicBezTo>
                  <a:cubicBezTo>
                    <a:pt x="108283" y="381334"/>
                    <a:pt x="98745" y="371660"/>
                    <a:pt x="90570" y="360351"/>
                  </a:cubicBezTo>
                  <a:cubicBezTo>
                    <a:pt x="82531" y="349042"/>
                    <a:pt x="76399" y="336575"/>
                    <a:pt x="72175" y="322950"/>
                  </a:cubicBezTo>
                  <a:cubicBezTo>
                    <a:pt x="67951" y="331670"/>
                    <a:pt x="65840" y="340662"/>
                    <a:pt x="65840" y="349927"/>
                  </a:cubicBezTo>
                  <a:cubicBezTo>
                    <a:pt x="65840" y="358102"/>
                    <a:pt x="67338" y="365869"/>
                    <a:pt x="70336" y="373227"/>
                  </a:cubicBezTo>
                  <a:cubicBezTo>
                    <a:pt x="73333" y="380449"/>
                    <a:pt x="77694" y="386921"/>
                    <a:pt x="83416" y="392644"/>
                  </a:cubicBezTo>
                  <a:lnTo>
                    <a:pt x="65022" y="411037"/>
                  </a:lnTo>
                  <a:cubicBezTo>
                    <a:pt x="56847" y="402862"/>
                    <a:pt x="50511" y="393529"/>
                    <a:pt x="46015" y="383037"/>
                  </a:cubicBezTo>
                  <a:cubicBezTo>
                    <a:pt x="41655" y="372410"/>
                    <a:pt x="39475" y="361304"/>
                    <a:pt x="39475" y="349723"/>
                  </a:cubicBezTo>
                  <a:cubicBezTo>
                    <a:pt x="39475" y="338142"/>
                    <a:pt x="41655" y="327037"/>
                    <a:pt x="46015" y="316410"/>
                  </a:cubicBezTo>
                  <a:cubicBezTo>
                    <a:pt x="50511" y="305781"/>
                    <a:pt x="56847" y="296380"/>
                    <a:pt x="65022" y="288205"/>
                  </a:cubicBezTo>
                  <a:lnTo>
                    <a:pt x="66248" y="289431"/>
                  </a:lnTo>
                  <a:cubicBezTo>
                    <a:pt x="66112" y="288477"/>
                    <a:pt x="65976" y="287592"/>
                    <a:pt x="65840" y="286774"/>
                  </a:cubicBezTo>
                  <a:cubicBezTo>
                    <a:pt x="65703" y="285957"/>
                    <a:pt x="65635" y="285071"/>
                    <a:pt x="65635" y="284117"/>
                  </a:cubicBezTo>
                  <a:lnTo>
                    <a:pt x="65635" y="231796"/>
                  </a:lnTo>
                  <a:cubicBezTo>
                    <a:pt x="65635" y="227709"/>
                    <a:pt x="65840" y="223621"/>
                    <a:pt x="66248" y="219533"/>
                  </a:cubicBezTo>
                  <a:cubicBezTo>
                    <a:pt x="66793" y="215310"/>
                    <a:pt x="67475" y="211222"/>
                    <a:pt x="68292" y="207271"/>
                  </a:cubicBezTo>
                  <a:cubicBezTo>
                    <a:pt x="64068" y="208497"/>
                    <a:pt x="60185" y="210337"/>
                    <a:pt x="56642" y="212789"/>
                  </a:cubicBezTo>
                  <a:cubicBezTo>
                    <a:pt x="53100" y="215106"/>
                    <a:pt x="50034" y="217966"/>
                    <a:pt x="47445" y="221372"/>
                  </a:cubicBezTo>
                  <a:cubicBezTo>
                    <a:pt x="44993" y="224643"/>
                    <a:pt x="43017" y="228322"/>
                    <a:pt x="41518" y="232410"/>
                  </a:cubicBezTo>
                  <a:cubicBezTo>
                    <a:pt x="40156" y="236361"/>
                    <a:pt x="39475" y="240517"/>
                    <a:pt x="39475" y="244876"/>
                  </a:cubicBezTo>
                  <a:lnTo>
                    <a:pt x="39475" y="284117"/>
                  </a:lnTo>
                  <a:lnTo>
                    <a:pt x="13314" y="284117"/>
                  </a:lnTo>
                  <a:lnTo>
                    <a:pt x="13314" y="244876"/>
                  </a:lnTo>
                  <a:cubicBezTo>
                    <a:pt x="13314" y="236020"/>
                    <a:pt x="14949" y="227709"/>
                    <a:pt x="18219" y="219943"/>
                  </a:cubicBezTo>
                  <a:cubicBezTo>
                    <a:pt x="21625" y="212040"/>
                    <a:pt x="26190" y="205158"/>
                    <a:pt x="31913" y="199299"/>
                  </a:cubicBezTo>
                  <a:cubicBezTo>
                    <a:pt x="37635" y="193441"/>
                    <a:pt x="44380" y="188808"/>
                    <a:pt x="52146" y="185402"/>
                  </a:cubicBezTo>
                  <a:cubicBezTo>
                    <a:pt x="59913" y="181859"/>
                    <a:pt x="68224" y="179952"/>
                    <a:pt x="77080" y="179679"/>
                  </a:cubicBezTo>
                  <a:cubicBezTo>
                    <a:pt x="81304" y="170142"/>
                    <a:pt x="86754" y="160944"/>
                    <a:pt x="93431" y="152087"/>
                  </a:cubicBezTo>
                  <a:cubicBezTo>
                    <a:pt x="85664" y="150726"/>
                    <a:pt x="78443" y="148137"/>
                    <a:pt x="71767" y="144322"/>
                  </a:cubicBezTo>
                  <a:cubicBezTo>
                    <a:pt x="65226" y="140370"/>
                    <a:pt x="59572" y="135533"/>
                    <a:pt x="54803" y="129810"/>
                  </a:cubicBezTo>
                  <a:cubicBezTo>
                    <a:pt x="50034" y="124088"/>
                    <a:pt x="46287" y="117684"/>
                    <a:pt x="43562" y="110599"/>
                  </a:cubicBezTo>
                  <a:cubicBezTo>
                    <a:pt x="40837" y="103377"/>
                    <a:pt x="39475" y="95815"/>
                    <a:pt x="39475" y="87913"/>
                  </a:cubicBezTo>
                  <a:lnTo>
                    <a:pt x="39475" y="48672"/>
                  </a:lnTo>
                  <a:lnTo>
                    <a:pt x="65635" y="48672"/>
                  </a:lnTo>
                  <a:lnTo>
                    <a:pt x="65635" y="87913"/>
                  </a:lnTo>
                  <a:cubicBezTo>
                    <a:pt x="65635" y="93363"/>
                    <a:pt x="66657" y="98472"/>
                    <a:pt x="68701" y="103241"/>
                  </a:cubicBezTo>
                  <a:cubicBezTo>
                    <a:pt x="70745" y="108010"/>
                    <a:pt x="73538" y="112166"/>
                    <a:pt x="77080" y="115708"/>
                  </a:cubicBezTo>
                  <a:cubicBezTo>
                    <a:pt x="80623" y="119251"/>
                    <a:pt x="84779" y="122044"/>
                    <a:pt x="89548" y="124088"/>
                  </a:cubicBezTo>
                  <a:cubicBezTo>
                    <a:pt x="94317" y="126132"/>
                    <a:pt x="99426" y="127154"/>
                    <a:pt x="104876" y="127154"/>
                  </a:cubicBezTo>
                  <a:lnTo>
                    <a:pt x="117956" y="127154"/>
                  </a:lnTo>
                  <a:lnTo>
                    <a:pt x="117956" y="127767"/>
                  </a:lnTo>
                  <a:cubicBezTo>
                    <a:pt x="124360" y="122998"/>
                    <a:pt x="130900" y="118978"/>
                    <a:pt x="137577" y="115708"/>
                  </a:cubicBezTo>
                  <a:cubicBezTo>
                    <a:pt x="135533" y="111348"/>
                    <a:pt x="133898" y="106852"/>
                    <a:pt x="132672" y="102219"/>
                  </a:cubicBezTo>
                  <a:cubicBezTo>
                    <a:pt x="131582" y="97450"/>
                    <a:pt x="131037" y="92681"/>
                    <a:pt x="131037" y="87913"/>
                  </a:cubicBezTo>
                  <a:cubicBezTo>
                    <a:pt x="131037" y="78375"/>
                    <a:pt x="133149" y="69178"/>
                    <a:pt x="137373" y="60321"/>
                  </a:cubicBezTo>
                  <a:lnTo>
                    <a:pt x="108759" y="31708"/>
                  </a:lnTo>
                  <a:lnTo>
                    <a:pt x="127154" y="13314"/>
                  </a:lnTo>
                  <a:lnTo>
                    <a:pt x="153110" y="39270"/>
                  </a:lnTo>
                  <a:cubicBezTo>
                    <a:pt x="159241" y="33956"/>
                    <a:pt x="165918" y="29869"/>
                    <a:pt x="173140" y="27007"/>
                  </a:cubicBezTo>
                  <a:cubicBezTo>
                    <a:pt x="180496" y="24010"/>
                    <a:pt x="188263" y="22511"/>
                    <a:pt x="196438" y="22511"/>
                  </a:cubicBezTo>
                  <a:cubicBezTo>
                    <a:pt x="204614" y="22511"/>
                    <a:pt x="212311" y="24010"/>
                    <a:pt x="219533" y="27007"/>
                  </a:cubicBezTo>
                  <a:cubicBezTo>
                    <a:pt x="226891" y="29869"/>
                    <a:pt x="233636" y="33956"/>
                    <a:pt x="239767" y="39270"/>
                  </a:cubicBezTo>
                  <a:lnTo>
                    <a:pt x="265724" y="13314"/>
                  </a:lnTo>
                  <a:lnTo>
                    <a:pt x="284117" y="31708"/>
                  </a:lnTo>
                  <a:lnTo>
                    <a:pt x="255504" y="60321"/>
                  </a:lnTo>
                  <a:cubicBezTo>
                    <a:pt x="259728" y="69178"/>
                    <a:pt x="261840" y="78375"/>
                    <a:pt x="261840" y="87913"/>
                  </a:cubicBezTo>
                  <a:cubicBezTo>
                    <a:pt x="261840" y="92681"/>
                    <a:pt x="261227" y="97450"/>
                    <a:pt x="260001" y="102219"/>
                  </a:cubicBezTo>
                  <a:cubicBezTo>
                    <a:pt x="258910" y="106852"/>
                    <a:pt x="257343" y="111348"/>
                    <a:pt x="255300" y="115708"/>
                  </a:cubicBezTo>
                  <a:cubicBezTo>
                    <a:pt x="258842" y="117480"/>
                    <a:pt x="262180" y="119387"/>
                    <a:pt x="265314" y="121431"/>
                  </a:cubicBezTo>
                  <a:cubicBezTo>
                    <a:pt x="268584" y="123338"/>
                    <a:pt x="271786" y="125450"/>
                    <a:pt x="274920" y="127767"/>
                  </a:cubicBezTo>
                  <a:lnTo>
                    <a:pt x="274920" y="127154"/>
                  </a:lnTo>
                  <a:lnTo>
                    <a:pt x="288001" y="127154"/>
                  </a:lnTo>
                  <a:cubicBezTo>
                    <a:pt x="293451" y="127154"/>
                    <a:pt x="298560" y="126132"/>
                    <a:pt x="303329" y="124088"/>
                  </a:cubicBezTo>
                  <a:cubicBezTo>
                    <a:pt x="308099" y="122044"/>
                    <a:pt x="312254" y="119251"/>
                    <a:pt x="315796" y="115708"/>
                  </a:cubicBezTo>
                  <a:cubicBezTo>
                    <a:pt x="319338" y="112166"/>
                    <a:pt x="322132" y="108010"/>
                    <a:pt x="324176" y="103241"/>
                  </a:cubicBezTo>
                  <a:cubicBezTo>
                    <a:pt x="326220" y="98472"/>
                    <a:pt x="327242" y="93363"/>
                    <a:pt x="327242" y="87913"/>
                  </a:cubicBezTo>
                  <a:lnTo>
                    <a:pt x="327242" y="48672"/>
                  </a:lnTo>
                  <a:lnTo>
                    <a:pt x="353402" y="48672"/>
                  </a:lnTo>
                  <a:lnTo>
                    <a:pt x="353402" y="87913"/>
                  </a:lnTo>
                  <a:cubicBezTo>
                    <a:pt x="353402" y="95815"/>
                    <a:pt x="352039" y="103377"/>
                    <a:pt x="349315" y="110599"/>
                  </a:cubicBezTo>
                  <a:cubicBezTo>
                    <a:pt x="346590" y="117684"/>
                    <a:pt x="342843" y="124088"/>
                    <a:pt x="338073" y="129810"/>
                  </a:cubicBezTo>
                  <a:cubicBezTo>
                    <a:pt x="333304" y="135533"/>
                    <a:pt x="327582" y="140370"/>
                    <a:pt x="320906" y="144322"/>
                  </a:cubicBezTo>
                  <a:cubicBezTo>
                    <a:pt x="314365" y="148137"/>
                    <a:pt x="307213" y="150726"/>
                    <a:pt x="299446" y="152087"/>
                  </a:cubicBezTo>
                  <a:cubicBezTo>
                    <a:pt x="306122" y="160944"/>
                    <a:pt x="311573" y="170142"/>
                    <a:pt x="315796" y="179679"/>
                  </a:cubicBezTo>
                  <a:close/>
                  <a:moveTo>
                    <a:pt x="196438" y="48672"/>
                  </a:moveTo>
                  <a:cubicBezTo>
                    <a:pt x="190988" y="48672"/>
                    <a:pt x="185879" y="49693"/>
                    <a:pt x="181110" y="51737"/>
                  </a:cubicBezTo>
                  <a:cubicBezTo>
                    <a:pt x="176340" y="53781"/>
                    <a:pt x="172185" y="56574"/>
                    <a:pt x="168643" y="60117"/>
                  </a:cubicBezTo>
                  <a:cubicBezTo>
                    <a:pt x="165101" y="63659"/>
                    <a:pt x="162307" y="67815"/>
                    <a:pt x="160263" y="72584"/>
                  </a:cubicBezTo>
                  <a:cubicBezTo>
                    <a:pt x="158219" y="77353"/>
                    <a:pt x="157197" y="82462"/>
                    <a:pt x="157197" y="87913"/>
                  </a:cubicBezTo>
                  <a:cubicBezTo>
                    <a:pt x="157197" y="94725"/>
                    <a:pt x="158832" y="100857"/>
                    <a:pt x="162103" y="106307"/>
                  </a:cubicBezTo>
                  <a:cubicBezTo>
                    <a:pt x="167825" y="104808"/>
                    <a:pt x="173480" y="103650"/>
                    <a:pt x="179066" y="102832"/>
                  </a:cubicBezTo>
                  <a:cubicBezTo>
                    <a:pt x="184789" y="101879"/>
                    <a:pt x="190580" y="101402"/>
                    <a:pt x="196438" y="101402"/>
                  </a:cubicBezTo>
                  <a:cubicBezTo>
                    <a:pt x="202297" y="101402"/>
                    <a:pt x="208020" y="101879"/>
                    <a:pt x="213606" y="102832"/>
                  </a:cubicBezTo>
                  <a:cubicBezTo>
                    <a:pt x="219329" y="103650"/>
                    <a:pt x="225052" y="104808"/>
                    <a:pt x="230774" y="106307"/>
                  </a:cubicBezTo>
                  <a:cubicBezTo>
                    <a:pt x="234044" y="100857"/>
                    <a:pt x="235679" y="94725"/>
                    <a:pt x="235679" y="87913"/>
                  </a:cubicBezTo>
                  <a:cubicBezTo>
                    <a:pt x="235679" y="82462"/>
                    <a:pt x="234658" y="77353"/>
                    <a:pt x="232613" y="72584"/>
                  </a:cubicBezTo>
                  <a:cubicBezTo>
                    <a:pt x="230570" y="67815"/>
                    <a:pt x="227776" y="63659"/>
                    <a:pt x="224234" y="60117"/>
                  </a:cubicBezTo>
                  <a:cubicBezTo>
                    <a:pt x="220692" y="56574"/>
                    <a:pt x="216536" y="53781"/>
                    <a:pt x="211767" y="51737"/>
                  </a:cubicBezTo>
                  <a:cubicBezTo>
                    <a:pt x="206998" y="49693"/>
                    <a:pt x="201889" y="48672"/>
                    <a:pt x="196438" y="48672"/>
                  </a:cubicBezTo>
                  <a:close/>
                  <a:moveTo>
                    <a:pt x="301081" y="231796"/>
                  </a:moveTo>
                  <a:cubicBezTo>
                    <a:pt x="301081" y="217626"/>
                    <a:pt x="298288" y="204205"/>
                    <a:pt x="292702" y="191534"/>
                  </a:cubicBezTo>
                  <a:cubicBezTo>
                    <a:pt x="287115" y="178861"/>
                    <a:pt x="279553" y="167758"/>
                    <a:pt x="270015" y="158219"/>
                  </a:cubicBezTo>
                  <a:cubicBezTo>
                    <a:pt x="260613" y="148681"/>
                    <a:pt x="249577" y="141119"/>
                    <a:pt x="236906" y="135533"/>
                  </a:cubicBezTo>
                  <a:cubicBezTo>
                    <a:pt x="224234" y="129947"/>
                    <a:pt x="210746" y="127154"/>
                    <a:pt x="196438" y="127154"/>
                  </a:cubicBezTo>
                  <a:cubicBezTo>
                    <a:pt x="182131" y="127154"/>
                    <a:pt x="168643" y="129947"/>
                    <a:pt x="155971" y="135533"/>
                  </a:cubicBezTo>
                  <a:cubicBezTo>
                    <a:pt x="143300" y="141119"/>
                    <a:pt x="132195" y="148681"/>
                    <a:pt x="122657" y="158219"/>
                  </a:cubicBezTo>
                  <a:cubicBezTo>
                    <a:pt x="113256" y="167758"/>
                    <a:pt x="105762" y="178861"/>
                    <a:pt x="100175" y="191534"/>
                  </a:cubicBezTo>
                  <a:cubicBezTo>
                    <a:pt x="94589" y="204205"/>
                    <a:pt x="91796" y="217626"/>
                    <a:pt x="91796" y="231796"/>
                  </a:cubicBezTo>
                  <a:lnTo>
                    <a:pt x="91796" y="284117"/>
                  </a:lnTo>
                  <a:cubicBezTo>
                    <a:pt x="91796" y="298561"/>
                    <a:pt x="94521" y="312117"/>
                    <a:pt x="99971" y="324789"/>
                  </a:cubicBezTo>
                  <a:cubicBezTo>
                    <a:pt x="105557" y="337460"/>
                    <a:pt x="113051" y="348566"/>
                    <a:pt x="122453" y="358102"/>
                  </a:cubicBezTo>
                  <a:cubicBezTo>
                    <a:pt x="131991" y="367505"/>
                    <a:pt x="143095" y="374998"/>
                    <a:pt x="155766" y="380585"/>
                  </a:cubicBezTo>
                  <a:cubicBezTo>
                    <a:pt x="168439" y="386035"/>
                    <a:pt x="181995" y="388760"/>
                    <a:pt x="196438" y="388760"/>
                  </a:cubicBezTo>
                  <a:cubicBezTo>
                    <a:pt x="210882" y="388760"/>
                    <a:pt x="224438" y="386035"/>
                    <a:pt x="237110" y="380585"/>
                  </a:cubicBezTo>
                  <a:cubicBezTo>
                    <a:pt x="249781" y="374998"/>
                    <a:pt x="260818" y="367505"/>
                    <a:pt x="270219" y="358102"/>
                  </a:cubicBezTo>
                  <a:cubicBezTo>
                    <a:pt x="279757" y="348566"/>
                    <a:pt x="287251" y="337460"/>
                    <a:pt x="292702" y="324789"/>
                  </a:cubicBezTo>
                  <a:cubicBezTo>
                    <a:pt x="298288" y="312117"/>
                    <a:pt x="301081" y="298561"/>
                    <a:pt x="301081" y="284117"/>
                  </a:cubicBezTo>
                  <a:lnTo>
                    <a:pt x="301081" y="231796"/>
                  </a:lnTo>
                  <a:close/>
                </a:path>
              </a:pathLst>
            </a:custGeom>
            <a:solidFill>
              <a:schemeClr val="tx2"/>
            </a:solidFill>
            <a:ln w="12927" cap="flat">
              <a:noFill/>
              <a:prstDash val="solid"/>
              <a:miter/>
            </a:ln>
          </p:spPr>
          <p:txBody>
            <a:bodyPr rtlCol="0" anchor="ctr"/>
            <a:lstStyle/>
            <a:p>
              <a:endParaRPr lang="en-US"/>
            </a:p>
          </p:txBody>
        </p:sp>
      </p:grpSp>
      <p:grpSp>
        <p:nvGrpSpPr>
          <p:cNvPr id="75" name="Group 74">
            <a:extLst>
              <a:ext uri="{FF2B5EF4-FFF2-40B4-BE49-F238E27FC236}">
                <a16:creationId xmlns:a16="http://schemas.microsoft.com/office/drawing/2014/main" id="{7691C69D-54C0-4224-A17E-2FE0421A8554}"/>
              </a:ext>
              <a:ext uri="{C183D7F6-B498-43B3-948B-1728B52AA6E4}">
                <adec:decorative xmlns:adec="http://schemas.microsoft.com/office/drawing/2017/decorative" val="1"/>
              </a:ext>
            </a:extLst>
          </p:cNvPr>
          <p:cNvGrpSpPr/>
          <p:nvPr/>
        </p:nvGrpSpPr>
        <p:grpSpPr>
          <a:xfrm>
            <a:off x="7718666" y="5243148"/>
            <a:ext cx="495947" cy="424113"/>
            <a:chOff x="9171621" y="3922983"/>
            <a:chExt cx="702004" cy="600324"/>
          </a:xfrm>
        </p:grpSpPr>
        <p:sp>
          <p:nvSpPr>
            <p:cNvPr id="76" name="Freeform 1">
              <a:extLst>
                <a:ext uri="{FF2B5EF4-FFF2-40B4-BE49-F238E27FC236}">
                  <a16:creationId xmlns:a16="http://schemas.microsoft.com/office/drawing/2014/main" id="{ADFBAEBF-5CB5-439B-BC74-4D023098BD8C}"/>
                </a:ext>
              </a:extLst>
            </p:cNvPr>
            <p:cNvSpPr>
              <a:spLocks noChangeArrowheads="1"/>
            </p:cNvSpPr>
            <p:nvPr/>
          </p:nvSpPr>
          <p:spPr bwMode="auto">
            <a:xfrm>
              <a:off x="9400672" y="3922983"/>
              <a:ext cx="244188" cy="600324"/>
            </a:xfrm>
            <a:custGeom>
              <a:avLst/>
              <a:gdLst>
                <a:gd name="T0" fmla="*/ 3215 w 3770"/>
                <a:gd name="T1" fmla="*/ 2209 h 9873"/>
                <a:gd name="T2" fmla="*/ 3067 w 3770"/>
                <a:gd name="T3" fmla="*/ 2615 h 9873"/>
                <a:gd name="T4" fmla="*/ 2794 w 3770"/>
                <a:gd name="T5" fmla="*/ 2942 h 9873"/>
                <a:gd name="T6" fmla="*/ 2427 w 3770"/>
                <a:gd name="T7" fmla="*/ 3146 h 9873"/>
                <a:gd name="T8" fmla="*/ 2381 w 3770"/>
                <a:gd name="T9" fmla="*/ 8881 h 9873"/>
                <a:gd name="T10" fmla="*/ 2248 w 3770"/>
                <a:gd name="T11" fmla="*/ 9123 h 9873"/>
                <a:gd name="T12" fmla="*/ 2029 w 3770"/>
                <a:gd name="T13" fmla="*/ 9295 h 9873"/>
                <a:gd name="T14" fmla="*/ 1819 w 3770"/>
                <a:gd name="T15" fmla="*/ 9349 h 9873"/>
                <a:gd name="T16" fmla="*/ 1592 w 3770"/>
                <a:gd name="T17" fmla="*/ 9279 h 9873"/>
                <a:gd name="T18" fmla="*/ 1405 w 3770"/>
                <a:gd name="T19" fmla="*/ 9123 h 9873"/>
                <a:gd name="T20" fmla="*/ 1296 w 3770"/>
                <a:gd name="T21" fmla="*/ 8827 h 9873"/>
                <a:gd name="T22" fmla="*/ 1155 w 3770"/>
                <a:gd name="T23" fmla="*/ 3060 h 9873"/>
                <a:gd name="T24" fmla="*/ 819 w 3770"/>
                <a:gd name="T25" fmla="*/ 2747 h 9873"/>
                <a:gd name="T26" fmla="*/ 601 w 3770"/>
                <a:gd name="T27" fmla="*/ 2357 h 9873"/>
                <a:gd name="T28" fmla="*/ 531 w 3770"/>
                <a:gd name="T29" fmla="*/ 1920 h 9873"/>
                <a:gd name="T30" fmla="*/ 648 w 3770"/>
                <a:gd name="T31" fmla="*/ 1405 h 9873"/>
                <a:gd name="T32" fmla="*/ 913 w 3770"/>
                <a:gd name="T33" fmla="*/ 960 h 9873"/>
                <a:gd name="T34" fmla="*/ 1085 w 3770"/>
                <a:gd name="T35" fmla="*/ 882 h 9873"/>
                <a:gd name="T36" fmla="*/ 1109 w 3770"/>
                <a:gd name="T37" fmla="*/ 1623 h 9873"/>
                <a:gd name="T38" fmla="*/ 1233 w 3770"/>
                <a:gd name="T39" fmla="*/ 1998 h 9873"/>
                <a:gd name="T40" fmla="*/ 1507 w 3770"/>
                <a:gd name="T41" fmla="*/ 2248 h 9873"/>
                <a:gd name="T42" fmla="*/ 1905 w 3770"/>
                <a:gd name="T43" fmla="*/ 2341 h 9873"/>
                <a:gd name="T44" fmla="*/ 2185 w 3770"/>
                <a:gd name="T45" fmla="*/ 2272 h 9873"/>
                <a:gd name="T46" fmla="*/ 2497 w 3770"/>
                <a:gd name="T47" fmla="*/ 2029 h 9873"/>
                <a:gd name="T48" fmla="*/ 2693 w 3770"/>
                <a:gd name="T49" fmla="*/ 1678 h 9873"/>
                <a:gd name="T50" fmla="*/ 2724 w 3770"/>
                <a:gd name="T51" fmla="*/ 859 h 9873"/>
                <a:gd name="T52" fmla="*/ 2997 w 3770"/>
                <a:gd name="T53" fmla="*/ 1116 h 9873"/>
                <a:gd name="T54" fmla="*/ 3169 w 3770"/>
                <a:gd name="T55" fmla="*/ 1452 h 9873"/>
                <a:gd name="T56" fmla="*/ 2162 w 3770"/>
                <a:gd name="T57" fmla="*/ 0 h 9873"/>
                <a:gd name="T58" fmla="*/ 2131 w 3770"/>
                <a:gd name="T59" fmla="*/ 1655 h 9873"/>
                <a:gd name="T60" fmla="*/ 1928 w 3770"/>
                <a:gd name="T61" fmla="*/ 1811 h 9873"/>
                <a:gd name="T62" fmla="*/ 1748 w 3770"/>
                <a:gd name="T63" fmla="*/ 1764 h 9873"/>
                <a:gd name="T64" fmla="*/ 1623 w 3770"/>
                <a:gd name="T65" fmla="*/ 1576 h 9873"/>
                <a:gd name="T66" fmla="*/ 1256 w 3770"/>
                <a:gd name="T67" fmla="*/ 149 h 9873"/>
                <a:gd name="T68" fmla="*/ 773 w 3770"/>
                <a:gd name="T69" fmla="*/ 382 h 9873"/>
                <a:gd name="T70" fmla="*/ 476 w 3770"/>
                <a:gd name="T71" fmla="*/ 648 h 9873"/>
                <a:gd name="T72" fmla="*/ 219 w 3770"/>
                <a:gd name="T73" fmla="*/ 1015 h 9873"/>
                <a:gd name="T74" fmla="*/ 0 w 3770"/>
                <a:gd name="T75" fmla="*/ 1967 h 9873"/>
                <a:gd name="T76" fmla="*/ 55 w 3770"/>
                <a:gd name="T77" fmla="*/ 2396 h 9873"/>
                <a:gd name="T78" fmla="*/ 258 w 3770"/>
                <a:gd name="T79" fmla="*/ 2888 h 9873"/>
                <a:gd name="T80" fmla="*/ 617 w 3770"/>
                <a:gd name="T81" fmla="*/ 3309 h 9873"/>
                <a:gd name="T82" fmla="*/ 773 w 3770"/>
                <a:gd name="T83" fmla="*/ 8780 h 9873"/>
                <a:gd name="T84" fmla="*/ 882 w 3770"/>
                <a:gd name="T85" fmla="*/ 9295 h 9873"/>
                <a:gd name="T86" fmla="*/ 1148 w 3770"/>
                <a:gd name="T87" fmla="*/ 9623 h 9873"/>
                <a:gd name="T88" fmla="*/ 1647 w 3770"/>
                <a:gd name="T89" fmla="*/ 9856 h 9873"/>
                <a:gd name="T90" fmla="*/ 2068 w 3770"/>
                <a:gd name="T91" fmla="*/ 9841 h 9873"/>
                <a:gd name="T92" fmla="*/ 2505 w 3770"/>
                <a:gd name="T93" fmla="*/ 9599 h 9873"/>
                <a:gd name="T94" fmla="*/ 2771 w 3770"/>
                <a:gd name="T95" fmla="*/ 9295 h 9873"/>
                <a:gd name="T96" fmla="*/ 2919 w 3770"/>
                <a:gd name="T97" fmla="*/ 8819 h 9873"/>
                <a:gd name="T98" fmla="*/ 3192 w 3770"/>
                <a:gd name="T99" fmla="*/ 3239 h 9873"/>
                <a:gd name="T100" fmla="*/ 3544 w 3770"/>
                <a:gd name="T101" fmla="*/ 2770 h 9873"/>
                <a:gd name="T102" fmla="*/ 3769 w 3770"/>
                <a:gd name="T103" fmla="*/ 1897 h 9873"/>
                <a:gd name="T104" fmla="*/ 3676 w 3770"/>
                <a:gd name="T105" fmla="*/ 1343 h 9873"/>
                <a:gd name="T106" fmla="*/ 3332 w 3770"/>
                <a:gd name="T107" fmla="*/ 726 h 9873"/>
                <a:gd name="T108" fmla="*/ 2763 w 3770"/>
                <a:gd name="T109" fmla="*/ 266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70" h="9873">
                  <a:moveTo>
                    <a:pt x="3246" y="1951"/>
                  </a:moveTo>
                  <a:lnTo>
                    <a:pt x="3246" y="1951"/>
                  </a:lnTo>
                  <a:lnTo>
                    <a:pt x="3239" y="2037"/>
                  </a:lnTo>
                  <a:lnTo>
                    <a:pt x="3231" y="2123"/>
                  </a:lnTo>
                  <a:lnTo>
                    <a:pt x="3215" y="2209"/>
                  </a:lnTo>
                  <a:lnTo>
                    <a:pt x="3200" y="2295"/>
                  </a:lnTo>
                  <a:lnTo>
                    <a:pt x="3177" y="2380"/>
                  </a:lnTo>
                  <a:lnTo>
                    <a:pt x="3146" y="2458"/>
                  </a:lnTo>
                  <a:lnTo>
                    <a:pt x="3107" y="2537"/>
                  </a:lnTo>
                  <a:lnTo>
                    <a:pt x="3067" y="2615"/>
                  </a:lnTo>
                  <a:lnTo>
                    <a:pt x="3020" y="2685"/>
                  </a:lnTo>
                  <a:lnTo>
                    <a:pt x="2974" y="2755"/>
                  </a:lnTo>
                  <a:lnTo>
                    <a:pt x="2919" y="2817"/>
                  </a:lnTo>
                  <a:lnTo>
                    <a:pt x="2856" y="2880"/>
                  </a:lnTo>
                  <a:lnTo>
                    <a:pt x="2794" y="2942"/>
                  </a:lnTo>
                  <a:lnTo>
                    <a:pt x="2724" y="2997"/>
                  </a:lnTo>
                  <a:lnTo>
                    <a:pt x="2646" y="3052"/>
                  </a:lnTo>
                  <a:lnTo>
                    <a:pt x="2568" y="3099"/>
                  </a:lnTo>
                  <a:lnTo>
                    <a:pt x="2568" y="3099"/>
                  </a:lnTo>
                  <a:lnTo>
                    <a:pt x="2427" y="3146"/>
                  </a:lnTo>
                  <a:lnTo>
                    <a:pt x="2427" y="3146"/>
                  </a:lnTo>
                  <a:lnTo>
                    <a:pt x="2396" y="8772"/>
                  </a:lnTo>
                  <a:lnTo>
                    <a:pt x="2396" y="8772"/>
                  </a:lnTo>
                  <a:lnTo>
                    <a:pt x="2388" y="8827"/>
                  </a:lnTo>
                  <a:lnTo>
                    <a:pt x="2381" y="8881"/>
                  </a:lnTo>
                  <a:lnTo>
                    <a:pt x="2365" y="8928"/>
                  </a:lnTo>
                  <a:lnTo>
                    <a:pt x="2342" y="8982"/>
                  </a:lnTo>
                  <a:lnTo>
                    <a:pt x="2318" y="9029"/>
                  </a:lnTo>
                  <a:lnTo>
                    <a:pt x="2287" y="9076"/>
                  </a:lnTo>
                  <a:lnTo>
                    <a:pt x="2248" y="9123"/>
                  </a:lnTo>
                  <a:lnTo>
                    <a:pt x="2217" y="9162"/>
                  </a:lnTo>
                  <a:lnTo>
                    <a:pt x="2170" y="9201"/>
                  </a:lnTo>
                  <a:lnTo>
                    <a:pt x="2123" y="9240"/>
                  </a:lnTo>
                  <a:lnTo>
                    <a:pt x="2076" y="9272"/>
                  </a:lnTo>
                  <a:lnTo>
                    <a:pt x="2029" y="9295"/>
                  </a:lnTo>
                  <a:lnTo>
                    <a:pt x="1975" y="9319"/>
                  </a:lnTo>
                  <a:lnTo>
                    <a:pt x="1928" y="9334"/>
                  </a:lnTo>
                  <a:lnTo>
                    <a:pt x="1873" y="9341"/>
                  </a:lnTo>
                  <a:lnTo>
                    <a:pt x="1819" y="9349"/>
                  </a:lnTo>
                  <a:lnTo>
                    <a:pt x="1819" y="9349"/>
                  </a:lnTo>
                  <a:lnTo>
                    <a:pt x="1780" y="9341"/>
                  </a:lnTo>
                  <a:lnTo>
                    <a:pt x="1740" y="9334"/>
                  </a:lnTo>
                  <a:lnTo>
                    <a:pt x="1694" y="9326"/>
                  </a:lnTo>
                  <a:lnTo>
                    <a:pt x="1647" y="9303"/>
                  </a:lnTo>
                  <a:lnTo>
                    <a:pt x="1592" y="9279"/>
                  </a:lnTo>
                  <a:lnTo>
                    <a:pt x="1546" y="9248"/>
                  </a:lnTo>
                  <a:lnTo>
                    <a:pt x="1491" y="9209"/>
                  </a:lnTo>
                  <a:lnTo>
                    <a:pt x="1436" y="9162"/>
                  </a:lnTo>
                  <a:lnTo>
                    <a:pt x="1436" y="9162"/>
                  </a:lnTo>
                  <a:lnTo>
                    <a:pt x="1405" y="9123"/>
                  </a:lnTo>
                  <a:lnTo>
                    <a:pt x="1374" y="9076"/>
                  </a:lnTo>
                  <a:lnTo>
                    <a:pt x="1335" y="8990"/>
                  </a:lnTo>
                  <a:lnTo>
                    <a:pt x="1303" y="8905"/>
                  </a:lnTo>
                  <a:lnTo>
                    <a:pt x="1296" y="8827"/>
                  </a:lnTo>
                  <a:lnTo>
                    <a:pt x="1296" y="8827"/>
                  </a:lnTo>
                  <a:lnTo>
                    <a:pt x="1327" y="3200"/>
                  </a:lnTo>
                  <a:lnTo>
                    <a:pt x="1327" y="3200"/>
                  </a:lnTo>
                  <a:lnTo>
                    <a:pt x="1233" y="3107"/>
                  </a:lnTo>
                  <a:lnTo>
                    <a:pt x="1233" y="3107"/>
                  </a:lnTo>
                  <a:lnTo>
                    <a:pt x="1155" y="3060"/>
                  </a:lnTo>
                  <a:lnTo>
                    <a:pt x="1085" y="3005"/>
                  </a:lnTo>
                  <a:lnTo>
                    <a:pt x="1015" y="2950"/>
                  </a:lnTo>
                  <a:lnTo>
                    <a:pt x="944" y="2888"/>
                  </a:lnTo>
                  <a:lnTo>
                    <a:pt x="882" y="2817"/>
                  </a:lnTo>
                  <a:lnTo>
                    <a:pt x="819" y="2747"/>
                  </a:lnTo>
                  <a:lnTo>
                    <a:pt x="773" y="2677"/>
                  </a:lnTo>
                  <a:lnTo>
                    <a:pt x="719" y="2599"/>
                  </a:lnTo>
                  <a:lnTo>
                    <a:pt x="680" y="2521"/>
                  </a:lnTo>
                  <a:lnTo>
                    <a:pt x="640" y="2443"/>
                  </a:lnTo>
                  <a:lnTo>
                    <a:pt x="601" y="2357"/>
                  </a:lnTo>
                  <a:lnTo>
                    <a:pt x="578" y="2272"/>
                  </a:lnTo>
                  <a:lnTo>
                    <a:pt x="554" y="2186"/>
                  </a:lnTo>
                  <a:lnTo>
                    <a:pt x="539" y="2092"/>
                  </a:lnTo>
                  <a:lnTo>
                    <a:pt x="531" y="2006"/>
                  </a:lnTo>
                  <a:lnTo>
                    <a:pt x="531" y="1920"/>
                  </a:lnTo>
                  <a:lnTo>
                    <a:pt x="531" y="1920"/>
                  </a:lnTo>
                  <a:lnTo>
                    <a:pt x="547" y="1788"/>
                  </a:lnTo>
                  <a:lnTo>
                    <a:pt x="578" y="1662"/>
                  </a:lnTo>
                  <a:lnTo>
                    <a:pt x="609" y="1530"/>
                  </a:lnTo>
                  <a:lnTo>
                    <a:pt x="648" y="1405"/>
                  </a:lnTo>
                  <a:lnTo>
                    <a:pt x="703" y="1280"/>
                  </a:lnTo>
                  <a:lnTo>
                    <a:pt x="757" y="1163"/>
                  </a:lnTo>
                  <a:lnTo>
                    <a:pt x="827" y="1054"/>
                  </a:lnTo>
                  <a:lnTo>
                    <a:pt x="913" y="960"/>
                  </a:lnTo>
                  <a:lnTo>
                    <a:pt x="913" y="960"/>
                  </a:lnTo>
                  <a:lnTo>
                    <a:pt x="937" y="945"/>
                  </a:lnTo>
                  <a:lnTo>
                    <a:pt x="960" y="929"/>
                  </a:lnTo>
                  <a:lnTo>
                    <a:pt x="1007" y="913"/>
                  </a:lnTo>
                  <a:lnTo>
                    <a:pt x="1062" y="890"/>
                  </a:lnTo>
                  <a:lnTo>
                    <a:pt x="1085" y="882"/>
                  </a:lnTo>
                  <a:lnTo>
                    <a:pt x="1109" y="867"/>
                  </a:lnTo>
                  <a:lnTo>
                    <a:pt x="1109" y="867"/>
                  </a:lnTo>
                  <a:lnTo>
                    <a:pt x="1101" y="1530"/>
                  </a:lnTo>
                  <a:lnTo>
                    <a:pt x="1101" y="1530"/>
                  </a:lnTo>
                  <a:lnTo>
                    <a:pt x="1109" y="1623"/>
                  </a:lnTo>
                  <a:lnTo>
                    <a:pt x="1117" y="1702"/>
                  </a:lnTo>
                  <a:lnTo>
                    <a:pt x="1132" y="1788"/>
                  </a:lnTo>
                  <a:lnTo>
                    <a:pt x="1163" y="1858"/>
                  </a:lnTo>
                  <a:lnTo>
                    <a:pt x="1194" y="1928"/>
                  </a:lnTo>
                  <a:lnTo>
                    <a:pt x="1233" y="1998"/>
                  </a:lnTo>
                  <a:lnTo>
                    <a:pt x="1272" y="2060"/>
                  </a:lnTo>
                  <a:lnTo>
                    <a:pt x="1327" y="2115"/>
                  </a:lnTo>
                  <a:lnTo>
                    <a:pt x="1382" y="2162"/>
                  </a:lnTo>
                  <a:lnTo>
                    <a:pt x="1444" y="2209"/>
                  </a:lnTo>
                  <a:lnTo>
                    <a:pt x="1507" y="2248"/>
                  </a:lnTo>
                  <a:lnTo>
                    <a:pt x="1577" y="2279"/>
                  </a:lnTo>
                  <a:lnTo>
                    <a:pt x="1654" y="2303"/>
                  </a:lnTo>
                  <a:lnTo>
                    <a:pt x="1733" y="2326"/>
                  </a:lnTo>
                  <a:lnTo>
                    <a:pt x="1819" y="2334"/>
                  </a:lnTo>
                  <a:lnTo>
                    <a:pt x="1905" y="2341"/>
                  </a:lnTo>
                  <a:lnTo>
                    <a:pt x="1905" y="2341"/>
                  </a:lnTo>
                  <a:lnTo>
                    <a:pt x="1982" y="2334"/>
                  </a:lnTo>
                  <a:lnTo>
                    <a:pt x="2052" y="2319"/>
                  </a:lnTo>
                  <a:lnTo>
                    <a:pt x="2123" y="2303"/>
                  </a:lnTo>
                  <a:lnTo>
                    <a:pt x="2185" y="2272"/>
                  </a:lnTo>
                  <a:lnTo>
                    <a:pt x="2256" y="2232"/>
                  </a:lnTo>
                  <a:lnTo>
                    <a:pt x="2318" y="2193"/>
                  </a:lnTo>
                  <a:lnTo>
                    <a:pt x="2381" y="2146"/>
                  </a:lnTo>
                  <a:lnTo>
                    <a:pt x="2443" y="2092"/>
                  </a:lnTo>
                  <a:lnTo>
                    <a:pt x="2497" y="2029"/>
                  </a:lnTo>
                  <a:lnTo>
                    <a:pt x="2544" y="1967"/>
                  </a:lnTo>
                  <a:lnTo>
                    <a:pt x="2591" y="1905"/>
                  </a:lnTo>
                  <a:lnTo>
                    <a:pt x="2630" y="1835"/>
                  </a:lnTo>
                  <a:lnTo>
                    <a:pt x="2662" y="1756"/>
                  </a:lnTo>
                  <a:lnTo>
                    <a:pt x="2693" y="1678"/>
                  </a:lnTo>
                  <a:lnTo>
                    <a:pt x="2709" y="1600"/>
                  </a:lnTo>
                  <a:lnTo>
                    <a:pt x="2724" y="1522"/>
                  </a:lnTo>
                  <a:lnTo>
                    <a:pt x="2724" y="1522"/>
                  </a:lnTo>
                  <a:lnTo>
                    <a:pt x="2724" y="859"/>
                  </a:lnTo>
                  <a:lnTo>
                    <a:pt x="2724" y="859"/>
                  </a:lnTo>
                  <a:lnTo>
                    <a:pt x="2787" y="898"/>
                  </a:lnTo>
                  <a:lnTo>
                    <a:pt x="2848" y="953"/>
                  </a:lnTo>
                  <a:lnTo>
                    <a:pt x="2895" y="999"/>
                  </a:lnTo>
                  <a:lnTo>
                    <a:pt x="2950" y="1062"/>
                  </a:lnTo>
                  <a:lnTo>
                    <a:pt x="2997" y="1116"/>
                  </a:lnTo>
                  <a:lnTo>
                    <a:pt x="3036" y="1178"/>
                  </a:lnTo>
                  <a:lnTo>
                    <a:pt x="3075" y="1241"/>
                  </a:lnTo>
                  <a:lnTo>
                    <a:pt x="3114" y="1311"/>
                  </a:lnTo>
                  <a:lnTo>
                    <a:pt x="3146" y="1382"/>
                  </a:lnTo>
                  <a:lnTo>
                    <a:pt x="3169" y="1452"/>
                  </a:lnTo>
                  <a:lnTo>
                    <a:pt x="3192" y="1530"/>
                  </a:lnTo>
                  <a:lnTo>
                    <a:pt x="3215" y="1608"/>
                  </a:lnTo>
                  <a:lnTo>
                    <a:pt x="3239" y="1772"/>
                  </a:lnTo>
                  <a:lnTo>
                    <a:pt x="3246" y="1951"/>
                  </a:lnTo>
                  <a:close/>
                  <a:moveTo>
                    <a:pt x="2162" y="0"/>
                  </a:moveTo>
                  <a:lnTo>
                    <a:pt x="2162" y="0"/>
                  </a:lnTo>
                  <a:lnTo>
                    <a:pt x="2154" y="1530"/>
                  </a:lnTo>
                  <a:lnTo>
                    <a:pt x="2154" y="1530"/>
                  </a:lnTo>
                  <a:lnTo>
                    <a:pt x="2146" y="1592"/>
                  </a:lnTo>
                  <a:lnTo>
                    <a:pt x="2131" y="1655"/>
                  </a:lnTo>
                  <a:lnTo>
                    <a:pt x="2107" y="1702"/>
                  </a:lnTo>
                  <a:lnTo>
                    <a:pt x="2076" y="1741"/>
                  </a:lnTo>
                  <a:lnTo>
                    <a:pt x="2037" y="1772"/>
                  </a:lnTo>
                  <a:lnTo>
                    <a:pt x="1990" y="1795"/>
                  </a:lnTo>
                  <a:lnTo>
                    <a:pt x="1928" y="1811"/>
                  </a:lnTo>
                  <a:lnTo>
                    <a:pt x="1866" y="1811"/>
                  </a:lnTo>
                  <a:lnTo>
                    <a:pt x="1866" y="1811"/>
                  </a:lnTo>
                  <a:lnTo>
                    <a:pt x="1827" y="1811"/>
                  </a:lnTo>
                  <a:lnTo>
                    <a:pt x="1787" y="1788"/>
                  </a:lnTo>
                  <a:lnTo>
                    <a:pt x="1748" y="1764"/>
                  </a:lnTo>
                  <a:lnTo>
                    <a:pt x="1709" y="1733"/>
                  </a:lnTo>
                  <a:lnTo>
                    <a:pt x="1678" y="1694"/>
                  </a:lnTo>
                  <a:lnTo>
                    <a:pt x="1647" y="1655"/>
                  </a:lnTo>
                  <a:lnTo>
                    <a:pt x="1631" y="1615"/>
                  </a:lnTo>
                  <a:lnTo>
                    <a:pt x="1623" y="1576"/>
                  </a:lnTo>
                  <a:lnTo>
                    <a:pt x="1623" y="1576"/>
                  </a:lnTo>
                  <a:lnTo>
                    <a:pt x="1639" y="55"/>
                  </a:lnTo>
                  <a:lnTo>
                    <a:pt x="1639" y="55"/>
                  </a:lnTo>
                  <a:lnTo>
                    <a:pt x="1256" y="149"/>
                  </a:lnTo>
                  <a:lnTo>
                    <a:pt x="1256" y="149"/>
                  </a:lnTo>
                  <a:lnTo>
                    <a:pt x="1148" y="188"/>
                  </a:lnTo>
                  <a:lnTo>
                    <a:pt x="1046" y="227"/>
                  </a:lnTo>
                  <a:lnTo>
                    <a:pt x="952" y="281"/>
                  </a:lnTo>
                  <a:lnTo>
                    <a:pt x="858" y="328"/>
                  </a:lnTo>
                  <a:lnTo>
                    <a:pt x="773" y="382"/>
                  </a:lnTo>
                  <a:lnTo>
                    <a:pt x="687" y="445"/>
                  </a:lnTo>
                  <a:lnTo>
                    <a:pt x="609" y="515"/>
                  </a:lnTo>
                  <a:lnTo>
                    <a:pt x="539" y="586"/>
                  </a:lnTo>
                  <a:lnTo>
                    <a:pt x="539" y="586"/>
                  </a:lnTo>
                  <a:lnTo>
                    <a:pt x="476" y="648"/>
                  </a:lnTo>
                  <a:lnTo>
                    <a:pt x="414" y="718"/>
                  </a:lnTo>
                  <a:lnTo>
                    <a:pt x="359" y="788"/>
                  </a:lnTo>
                  <a:lnTo>
                    <a:pt x="313" y="859"/>
                  </a:lnTo>
                  <a:lnTo>
                    <a:pt x="266" y="937"/>
                  </a:lnTo>
                  <a:lnTo>
                    <a:pt x="219" y="1015"/>
                  </a:lnTo>
                  <a:lnTo>
                    <a:pt x="149" y="1186"/>
                  </a:lnTo>
                  <a:lnTo>
                    <a:pt x="86" y="1366"/>
                  </a:lnTo>
                  <a:lnTo>
                    <a:pt x="39" y="1561"/>
                  </a:lnTo>
                  <a:lnTo>
                    <a:pt x="16" y="1756"/>
                  </a:lnTo>
                  <a:lnTo>
                    <a:pt x="0" y="1967"/>
                  </a:lnTo>
                  <a:lnTo>
                    <a:pt x="0" y="1967"/>
                  </a:lnTo>
                  <a:lnTo>
                    <a:pt x="8" y="2076"/>
                  </a:lnTo>
                  <a:lnTo>
                    <a:pt x="16" y="2186"/>
                  </a:lnTo>
                  <a:lnTo>
                    <a:pt x="31" y="2287"/>
                  </a:lnTo>
                  <a:lnTo>
                    <a:pt x="55" y="2396"/>
                  </a:lnTo>
                  <a:lnTo>
                    <a:pt x="78" y="2497"/>
                  </a:lnTo>
                  <a:lnTo>
                    <a:pt x="117" y="2599"/>
                  </a:lnTo>
                  <a:lnTo>
                    <a:pt x="156" y="2701"/>
                  </a:lnTo>
                  <a:lnTo>
                    <a:pt x="203" y="2794"/>
                  </a:lnTo>
                  <a:lnTo>
                    <a:pt x="258" y="2888"/>
                  </a:lnTo>
                  <a:lnTo>
                    <a:pt x="321" y="2981"/>
                  </a:lnTo>
                  <a:lnTo>
                    <a:pt x="382" y="3068"/>
                  </a:lnTo>
                  <a:lnTo>
                    <a:pt x="460" y="3153"/>
                  </a:lnTo>
                  <a:lnTo>
                    <a:pt x="539" y="3231"/>
                  </a:lnTo>
                  <a:lnTo>
                    <a:pt x="617" y="3309"/>
                  </a:lnTo>
                  <a:lnTo>
                    <a:pt x="711" y="3379"/>
                  </a:lnTo>
                  <a:lnTo>
                    <a:pt x="804" y="3442"/>
                  </a:lnTo>
                  <a:lnTo>
                    <a:pt x="804" y="3442"/>
                  </a:lnTo>
                  <a:lnTo>
                    <a:pt x="773" y="8780"/>
                  </a:lnTo>
                  <a:lnTo>
                    <a:pt x="773" y="8780"/>
                  </a:lnTo>
                  <a:lnTo>
                    <a:pt x="773" y="8889"/>
                  </a:lnTo>
                  <a:lnTo>
                    <a:pt x="788" y="8990"/>
                  </a:lnTo>
                  <a:lnTo>
                    <a:pt x="812" y="9099"/>
                  </a:lnTo>
                  <a:lnTo>
                    <a:pt x="843" y="9201"/>
                  </a:lnTo>
                  <a:lnTo>
                    <a:pt x="882" y="9295"/>
                  </a:lnTo>
                  <a:lnTo>
                    <a:pt x="929" y="9380"/>
                  </a:lnTo>
                  <a:lnTo>
                    <a:pt x="991" y="9466"/>
                  </a:lnTo>
                  <a:lnTo>
                    <a:pt x="1054" y="9544"/>
                  </a:lnTo>
                  <a:lnTo>
                    <a:pt x="1054" y="9544"/>
                  </a:lnTo>
                  <a:lnTo>
                    <a:pt x="1148" y="9623"/>
                  </a:lnTo>
                  <a:lnTo>
                    <a:pt x="1241" y="9693"/>
                  </a:lnTo>
                  <a:lnTo>
                    <a:pt x="1342" y="9747"/>
                  </a:lnTo>
                  <a:lnTo>
                    <a:pt x="1444" y="9794"/>
                  </a:lnTo>
                  <a:lnTo>
                    <a:pt x="1546" y="9833"/>
                  </a:lnTo>
                  <a:lnTo>
                    <a:pt x="1647" y="9856"/>
                  </a:lnTo>
                  <a:lnTo>
                    <a:pt x="1756" y="9864"/>
                  </a:lnTo>
                  <a:lnTo>
                    <a:pt x="1866" y="9872"/>
                  </a:lnTo>
                  <a:lnTo>
                    <a:pt x="1866" y="9872"/>
                  </a:lnTo>
                  <a:lnTo>
                    <a:pt x="1967" y="9864"/>
                  </a:lnTo>
                  <a:lnTo>
                    <a:pt x="2068" y="9841"/>
                  </a:lnTo>
                  <a:lnTo>
                    <a:pt x="2162" y="9817"/>
                  </a:lnTo>
                  <a:lnTo>
                    <a:pt x="2256" y="9770"/>
                  </a:lnTo>
                  <a:lnTo>
                    <a:pt x="2342" y="9724"/>
                  </a:lnTo>
                  <a:lnTo>
                    <a:pt x="2427" y="9670"/>
                  </a:lnTo>
                  <a:lnTo>
                    <a:pt x="2505" y="9599"/>
                  </a:lnTo>
                  <a:lnTo>
                    <a:pt x="2583" y="9537"/>
                  </a:lnTo>
                  <a:lnTo>
                    <a:pt x="2583" y="9537"/>
                  </a:lnTo>
                  <a:lnTo>
                    <a:pt x="2646" y="9458"/>
                  </a:lnTo>
                  <a:lnTo>
                    <a:pt x="2716" y="9380"/>
                  </a:lnTo>
                  <a:lnTo>
                    <a:pt x="2771" y="9295"/>
                  </a:lnTo>
                  <a:lnTo>
                    <a:pt x="2817" y="9209"/>
                  </a:lnTo>
                  <a:lnTo>
                    <a:pt x="2864" y="9115"/>
                  </a:lnTo>
                  <a:lnTo>
                    <a:pt x="2887" y="9021"/>
                  </a:lnTo>
                  <a:lnTo>
                    <a:pt x="2911" y="8920"/>
                  </a:lnTo>
                  <a:lnTo>
                    <a:pt x="2919" y="8819"/>
                  </a:lnTo>
                  <a:lnTo>
                    <a:pt x="2919" y="8819"/>
                  </a:lnTo>
                  <a:lnTo>
                    <a:pt x="2950" y="3473"/>
                  </a:lnTo>
                  <a:lnTo>
                    <a:pt x="2950" y="3473"/>
                  </a:lnTo>
                  <a:lnTo>
                    <a:pt x="3192" y="3239"/>
                  </a:lnTo>
                  <a:lnTo>
                    <a:pt x="3192" y="3239"/>
                  </a:lnTo>
                  <a:lnTo>
                    <a:pt x="3192" y="3239"/>
                  </a:lnTo>
                  <a:lnTo>
                    <a:pt x="3262" y="3161"/>
                  </a:lnTo>
                  <a:lnTo>
                    <a:pt x="3325" y="3091"/>
                  </a:lnTo>
                  <a:lnTo>
                    <a:pt x="3442" y="2935"/>
                  </a:lnTo>
                  <a:lnTo>
                    <a:pt x="3544" y="2770"/>
                  </a:lnTo>
                  <a:lnTo>
                    <a:pt x="3621" y="2599"/>
                  </a:lnTo>
                  <a:lnTo>
                    <a:pt x="3683" y="2427"/>
                  </a:lnTo>
                  <a:lnTo>
                    <a:pt x="3730" y="2256"/>
                  </a:lnTo>
                  <a:lnTo>
                    <a:pt x="3762" y="2076"/>
                  </a:lnTo>
                  <a:lnTo>
                    <a:pt x="3769" y="1897"/>
                  </a:lnTo>
                  <a:lnTo>
                    <a:pt x="3769" y="1897"/>
                  </a:lnTo>
                  <a:lnTo>
                    <a:pt x="3762" y="1756"/>
                  </a:lnTo>
                  <a:lnTo>
                    <a:pt x="3746" y="1615"/>
                  </a:lnTo>
                  <a:lnTo>
                    <a:pt x="3715" y="1476"/>
                  </a:lnTo>
                  <a:lnTo>
                    <a:pt x="3676" y="1343"/>
                  </a:lnTo>
                  <a:lnTo>
                    <a:pt x="3629" y="1210"/>
                  </a:lnTo>
                  <a:lnTo>
                    <a:pt x="3567" y="1078"/>
                  </a:lnTo>
                  <a:lnTo>
                    <a:pt x="3497" y="960"/>
                  </a:lnTo>
                  <a:lnTo>
                    <a:pt x="3418" y="835"/>
                  </a:lnTo>
                  <a:lnTo>
                    <a:pt x="3332" y="726"/>
                  </a:lnTo>
                  <a:lnTo>
                    <a:pt x="3231" y="617"/>
                  </a:lnTo>
                  <a:lnTo>
                    <a:pt x="3130" y="523"/>
                  </a:lnTo>
                  <a:lnTo>
                    <a:pt x="3013" y="429"/>
                  </a:lnTo>
                  <a:lnTo>
                    <a:pt x="2895" y="343"/>
                  </a:lnTo>
                  <a:lnTo>
                    <a:pt x="2763" y="266"/>
                  </a:lnTo>
                  <a:lnTo>
                    <a:pt x="2630" y="196"/>
                  </a:lnTo>
                  <a:lnTo>
                    <a:pt x="2489" y="141"/>
                  </a:lnTo>
                  <a:lnTo>
                    <a:pt x="2162" y="0"/>
                  </a:lnTo>
                  <a:close/>
                </a:path>
              </a:pathLst>
            </a:custGeom>
            <a:solidFill>
              <a:schemeClr val="tx2"/>
            </a:solidFill>
            <a:ln>
              <a:noFill/>
            </a:ln>
            <a:effectLst/>
          </p:spPr>
          <p:txBody>
            <a:bodyPr wrap="none" anchor="ctr"/>
            <a:lstStyle/>
            <a:p>
              <a:endParaRPr lang="en-US" sz="1428"/>
            </a:p>
          </p:txBody>
        </p:sp>
        <p:sp>
          <p:nvSpPr>
            <p:cNvPr id="77" name="Freeform 2">
              <a:extLst>
                <a:ext uri="{FF2B5EF4-FFF2-40B4-BE49-F238E27FC236}">
                  <a16:creationId xmlns:a16="http://schemas.microsoft.com/office/drawing/2014/main" id="{7B6BFAC3-0706-4A2E-A555-A921B5772945}"/>
                </a:ext>
              </a:extLst>
            </p:cNvPr>
            <p:cNvSpPr>
              <a:spLocks noChangeArrowheads="1"/>
            </p:cNvSpPr>
            <p:nvPr/>
          </p:nvSpPr>
          <p:spPr bwMode="auto">
            <a:xfrm>
              <a:off x="9171621" y="4110936"/>
              <a:ext cx="141657" cy="223882"/>
            </a:xfrm>
            <a:custGeom>
              <a:avLst/>
              <a:gdLst>
                <a:gd name="T0" fmla="*/ 1842 w 2186"/>
                <a:gd name="T1" fmla="*/ 3683 h 3684"/>
                <a:gd name="T2" fmla="*/ 0 w 2186"/>
                <a:gd name="T3" fmla="*/ 1841 h 3684"/>
                <a:gd name="T4" fmla="*/ 1842 w 2186"/>
                <a:gd name="T5" fmla="*/ 0 h 3684"/>
                <a:gd name="T6" fmla="*/ 2185 w 2186"/>
                <a:gd name="T7" fmla="*/ 343 h 3684"/>
                <a:gd name="T8" fmla="*/ 679 w 2186"/>
                <a:gd name="T9" fmla="*/ 1841 h 3684"/>
                <a:gd name="T10" fmla="*/ 2185 w 2186"/>
                <a:gd name="T11" fmla="*/ 3348 h 3684"/>
                <a:gd name="T12" fmla="*/ 1842 w 2186"/>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86" h="3684">
                  <a:moveTo>
                    <a:pt x="1842" y="3683"/>
                  </a:moveTo>
                  <a:lnTo>
                    <a:pt x="0" y="1841"/>
                  </a:lnTo>
                  <a:lnTo>
                    <a:pt x="1842" y="0"/>
                  </a:lnTo>
                  <a:lnTo>
                    <a:pt x="2185" y="343"/>
                  </a:lnTo>
                  <a:lnTo>
                    <a:pt x="679" y="1841"/>
                  </a:lnTo>
                  <a:lnTo>
                    <a:pt x="2185" y="3348"/>
                  </a:lnTo>
                  <a:lnTo>
                    <a:pt x="1842" y="3683"/>
                  </a:lnTo>
                </a:path>
              </a:pathLst>
            </a:custGeom>
            <a:solidFill>
              <a:schemeClr val="tx2"/>
            </a:solidFill>
            <a:ln>
              <a:noFill/>
            </a:ln>
            <a:effectLst/>
          </p:spPr>
          <p:txBody>
            <a:bodyPr wrap="none" anchor="ctr"/>
            <a:lstStyle/>
            <a:p>
              <a:endParaRPr lang="en-US" sz="1428">
                <a:solidFill>
                  <a:schemeClr val="tx2"/>
                </a:solidFill>
              </a:endParaRPr>
            </a:p>
          </p:txBody>
        </p:sp>
        <p:sp>
          <p:nvSpPr>
            <p:cNvPr id="78" name="Freeform 3">
              <a:extLst>
                <a:ext uri="{FF2B5EF4-FFF2-40B4-BE49-F238E27FC236}">
                  <a16:creationId xmlns:a16="http://schemas.microsoft.com/office/drawing/2014/main" id="{09E24A0E-A86B-42E9-B250-83D43F8FA94A}"/>
                </a:ext>
              </a:extLst>
            </p:cNvPr>
            <p:cNvSpPr>
              <a:spLocks noChangeArrowheads="1"/>
            </p:cNvSpPr>
            <p:nvPr/>
          </p:nvSpPr>
          <p:spPr bwMode="auto">
            <a:xfrm>
              <a:off x="9732539" y="4110936"/>
              <a:ext cx="141086" cy="223882"/>
            </a:xfrm>
            <a:custGeom>
              <a:avLst/>
              <a:gdLst>
                <a:gd name="T0" fmla="*/ 335 w 2177"/>
                <a:gd name="T1" fmla="*/ 3683 h 3684"/>
                <a:gd name="T2" fmla="*/ 0 w 2177"/>
                <a:gd name="T3" fmla="*/ 3348 h 3684"/>
                <a:gd name="T4" fmla="*/ 1505 w 2177"/>
                <a:gd name="T5" fmla="*/ 1841 h 3684"/>
                <a:gd name="T6" fmla="*/ 0 w 2177"/>
                <a:gd name="T7" fmla="*/ 343 h 3684"/>
                <a:gd name="T8" fmla="*/ 335 w 2177"/>
                <a:gd name="T9" fmla="*/ 0 h 3684"/>
                <a:gd name="T10" fmla="*/ 2176 w 2177"/>
                <a:gd name="T11" fmla="*/ 1841 h 3684"/>
                <a:gd name="T12" fmla="*/ 335 w 2177"/>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77" h="3684">
                  <a:moveTo>
                    <a:pt x="335" y="3683"/>
                  </a:moveTo>
                  <a:lnTo>
                    <a:pt x="0" y="3348"/>
                  </a:lnTo>
                  <a:lnTo>
                    <a:pt x="1505" y="1841"/>
                  </a:lnTo>
                  <a:lnTo>
                    <a:pt x="0" y="343"/>
                  </a:lnTo>
                  <a:lnTo>
                    <a:pt x="335" y="0"/>
                  </a:lnTo>
                  <a:lnTo>
                    <a:pt x="2176" y="1841"/>
                  </a:lnTo>
                  <a:lnTo>
                    <a:pt x="335" y="3683"/>
                  </a:lnTo>
                </a:path>
              </a:pathLst>
            </a:custGeom>
            <a:solidFill>
              <a:schemeClr val="tx2"/>
            </a:solidFill>
            <a:ln>
              <a:noFill/>
            </a:ln>
            <a:effectLst/>
          </p:spPr>
          <p:txBody>
            <a:bodyPr wrap="none" anchor="ctr"/>
            <a:lstStyle/>
            <a:p>
              <a:endParaRPr lang="en-US" sz="1428"/>
            </a:p>
          </p:txBody>
        </p:sp>
      </p:grpSp>
      <p:sp>
        <p:nvSpPr>
          <p:cNvPr id="41" name="TextBox 40">
            <a:extLst>
              <a:ext uri="{FF2B5EF4-FFF2-40B4-BE49-F238E27FC236}">
                <a16:creationId xmlns:a16="http://schemas.microsoft.com/office/drawing/2014/main" id="{489DD46E-7E66-46BB-9618-3EB18407D0C2}"/>
              </a:ext>
            </a:extLst>
          </p:cNvPr>
          <p:cNvSpPr txBox="1"/>
          <p:nvPr/>
        </p:nvSpPr>
        <p:spPr>
          <a:xfrm>
            <a:off x="3790344" y="6594171"/>
            <a:ext cx="8726684" cy="423653"/>
          </a:xfrm>
          <a:prstGeom prst="rect">
            <a:avLst/>
          </a:prstGeom>
          <a:noFill/>
        </p:spPr>
        <p:txBody>
          <a:bodyPr wrap="none" lIns="172212" tIns="137769" rIns="172212" bIns="137769" rtlCol="0">
            <a:spAutoFit/>
          </a:bodyPr>
          <a:lstStyle/>
          <a:p>
            <a:pPr algn="r" defTabSz="878179">
              <a:lnSpc>
                <a:spcPct val="90000"/>
              </a:lnSpc>
              <a:spcAft>
                <a:spcPts val="564"/>
              </a:spcAft>
            </a:pPr>
            <a:r>
              <a:rPr lang="en-US" sz="1050" kern="0" dirty="0">
                <a:solidFill>
                  <a:srgbClr val="737373"/>
                </a:solidFill>
                <a:latin typeface="Segoe UI Light"/>
              </a:rPr>
              <a:t>Source: </a:t>
            </a:r>
            <a:r>
              <a:rPr lang="en-GB" sz="1050" kern="0" dirty="0">
                <a:solidFill>
                  <a:srgbClr val="737373"/>
                </a:solidFill>
                <a:latin typeface="Segoe UI Light"/>
              </a:rPr>
              <a:t>2019 Accelerate: State of DevOps: Strategies for a New Economy." N. </a:t>
            </a:r>
            <a:r>
              <a:rPr lang="en-GB" sz="1050" kern="0" dirty="0" err="1">
                <a:solidFill>
                  <a:srgbClr val="737373"/>
                </a:solidFill>
                <a:latin typeface="Segoe UI Light"/>
              </a:rPr>
              <a:t>Forsgren</a:t>
            </a:r>
            <a:r>
              <a:rPr lang="en-GB" sz="1050" kern="0" dirty="0">
                <a:solidFill>
                  <a:srgbClr val="737373"/>
                </a:solidFill>
                <a:latin typeface="Segoe UI Light"/>
              </a:rPr>
              <a:t>, J. Humble, G. Kim. DevOps Research and Assessment (DORA)</a:t>
            </a:r>
            <a:endParaRPr lang="en-US" sz="1050" kern="0" dirty="0">
              <a:solidFill>
                <a:srgbClr val="737373"/>
              </a:solidFill>
              <a:latin typeface="Segoe UI Light"/>
            </a:endParaRPr>
          </a:p>
        </p:txBody>
      </p:sp>
    </p:spTree>
    <p:extLst>
      <p:ext uri="{BB962C8B-B14F-4D97-AF65-F5344CB8AC3E}">
        <p14:creationId xmlns:p14="http://schemas.microsoft.com/office/powerpoint/2010/main" val="11690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7B9A2B6-2B2E-460C-AD55-55C60CDD2314}"/>
              </a:ext>
            </a:extLst>
          </p:cNvPr>
          <p:cNvSpPr>
            <a:spLocks noGrp="1"/>
          </p:cNvSpPr>
          <p:nvPr>
            <p:ph type="title"/>
          </p:nvPr>
        </p:nvSpPr>
        <p:spPr/>
        <p:txBody>
          <a:bodyPr/>
          <a:lstStyle/>
          <a:p>
            <a:r>
              <a:rPr lang="en-US">
                <a:solidFill>
                  <a:schemeClr val="accent3"/>
                </a:solidFill>
              </a:rPr>
              <a:t>What is DevOps?</a:t>
            </a:r>
          </a:p>
        </p:txBody>
      </p:sp>
      <p:grpSp>
        <p:nvGrpSpPr>
          <p:cNvPr id="77" name="Group 76" descr="DevOps is the union of people, process, and products to enable continuous delivery of value to your end users.&#10;">
            <a:extLst>
              <a:ext uri="{FF2B5EF4-FFF2-40B4-BE49-F238E27FC236}">
                <a16:creationId xmlns:a16="http://schemas.microsoft.com/office/drawing/2014/main" id="{9474FE22-C25F-4ADA-9318-FC200B6000CB}"/>
              </a:ext>
            </a:extLst>
          </p:cNvPr>
          <p:cNvGrpSpPr/>
          <p:nvPr/>
        </p:nvGrpSpPr>
        <p:grpSpPr>
          <a:xfrm>
            <a:off x="434975" y="1928172"/>
            <a:ext cx="5412947" cy="3963929"/>
            <a:chOff x="366076" y="1432242"/>
            <a:chExt cx="4716106" cy="3964491"/>
          </a:xfrm>
        </p:grpSpPr>
        <p:sp>
          <p:nvSpPr>
            <p:cNvPr id="78" name="Rectangle 77">
              <a:extLst>
                <a:ext uri="{FF2B5EF4-FFF2-40B4-BE49-F238E27FC236}">
                  <a16:creationId xmlns:a16="http://schemas.microsoft.com/office/drawing/2014/main" id="{58E74528-B7E4-476F-9A19-2FF5138D17D0}"/>
                </a:ext>
              </a:extLst>
            </p:cNvPr>
            <p:cNvSpPr/>
            <p:nvPr/>
          </p:nvSpPr>
          <p:spPr bwMode="auto">
            <a:xfrm>
              <a:off x="366076" y="1432242"/>
              <a:ext cx="4716106" cy="396449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7141" tIns="777130" rIns="182854" bIns="146283" numCol="1" spcCol="0" rtlCol="0" fromWordArt="0" anchor="t" anchorCtr="0" forceAA="0" compatLnSpc="1">
              <a:prstTxWarp prst="textNoShape">
                <a:avLst/>
              </a:prstTxWarp>
              <a:noAutofit/>
            </a:bodyPr>
            <a:lstStyle/>
            <a:p>
              <a:pPr marL="0" marR="0" lvl="0" indent="0" defTabSz="932688"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solidFill>
                    <a:srgbClr val="000000"/>
                  </a:solidFill>
                  <a:effectLst/>
                  <a:uLnTx/>
                  <a:uFillTx/>
                </a:rPr>
                <a:t>DevOps is the union of </a:t>
              </a:r>
              <a:r>
                <a:rPr kumimoji="0" lang="en-US" sz="2800" b="1" i="0" u="none" strike="noStrike" kern="0" cap="none" spc="0" normalizeH="0" baseline="0" noProof="0">
                  <a:ln>
                    <a:noFill/>
                  </a:ln>
                  <a:solidFill>
                    <a:srgbClr val="0078D7"/>
                  </a:solidFill>
                  <a:effectLst/>
                  <a:uLnTx/>
                  <a:uFillTx/>
                </a:rPr>
                <a:t>people</a:t>
              </a:r>
              <a:r>
                <a:rPr kumimoji="0" lang="en-US" sz="2800" b="0" i="0" u="none" strike="noStrike" kern="0" cap="none" spc="0" normalizeH="0" baseline="0" noProof="0">
                  <a:ln>
                    <a:noFill/>
                  </a:ln>
                  <a:solidFill>
                    <a:srgbClr val="000000"/>
                  </a:solidFill>
                  <a:effectLst/>
                  <a:uLnTx/>
                  <a:uFillTx/>
                </a:rPr>
                <a:t>, </a:t>
              </a:r>
              <a:r>
                <a:rPr kumimoji="0" lang="en-US" sz="2800" b="1" i="0" u="none" strike="noStrike" kern="0" cap="none" spc="0" normalizeH="0" baseline="0" noProof="0">
                  <a:ln>
                    <a:noFill/>
                  </a:ln>
                  <a:solidFill>
                    <a:srgbClr val="0078D7"/>
                  </a:solidFill>
                  <a:effectLst/>
                  <a:uLnTx/>
                  <a:uFillTx/>
                </a:rPr>
                <a:t>process</a:t>
              </a:r>
              <a:r>
                <a:rPr kumimoji="0" lang="en-US" sz="2800" b="0" i="0" u="none" strike="noStrike" kern="0" cap="none" spc="0" normalizeH="0" baseline="0" noProof="0">
                  <a:ln>
                    <a:noFill/>
                  </a:ln>
                  <a:solidFill>
                    <a:srgbClr val="000000"/>
                  </a:solidFill>
                  <a:effectLst/>
                  <a:uLnTx/>
                  <a:uFillTx/>
                </a:rPr>
                <a:t>, and </a:t>
              </a:r>
              <a:r>
                <a:rPr kumimoji="0" lang="en-US" sz="2800" b="1" i="0" u="none" strike="noStrike" kern="0" cap="none" spc="0" normalizeH="0" baseline="0" noProof="0">
                  <a:ln>
                    <a:noFill/>
                  </a:ln>
                  <a:solidFill>
                    <a:srgbClr val="0078D7"/>
                  </a:solidFill>
                  <a:effectLst/>
                  <a:uLnTx/>
                  <a:uFillTx/>
                </a:rPr>
                <a:t>products</a:t>
              </a:r>
              <a:r>
                <a:rPr kumimoji="0" lang="en-US" sz="2800" b="0" i="0" u="none" strike="noStrike" kern="0" cap="none" spc="0" normalizeH="0" baseline="0" noProof="0">
                  <a:ln>
                    <a:noFill/>
                  </a:ln>
                  <a:solidFill>
                    <a:srgbClr val="000000"/>
                  </a:solidFill>
                  <a:effectLst/>
                  <a:uLnTx/>
                  <a:uFillTx/>
                </a:rPr>
                <a:t> to enable continuous delivery of value to your end users.</a:t>
              </a:r>
            </a:p>
          </p:txBody>
        </p:sp>
        <p:sp>
          <p:nvSpPr>
            <p:cNvPr id="79" name="Rectangle 78">
              <a:extLst>
                <a:ext uri="{FF2B5EF4-FFF2-40B4-BE49-F238E27FC236}">
                  <a16:creationId xmlns:a16="http://schemas.microsoft.com/office/drawing/2014/main" id="{18DADDA2-A387-4732-AE49-E0124794F374}"/>
                </a:ext>
                <a:ext uri="{C183D7F6-B498-43B3-948B-1728B52AA6E4}">
                  <adec:decorative xmlns:adec="http://schemas.microsoft.com/office/drawing/2017/decorative" val="1"/>
                </a:ext>
              </a:extLst>
            </p:cNvPr>
            <p:cNvSpPr/>
            <p:nvPr/>
          </p:nvSpPr>
          <p:spPr>
            <a:xfrm>
              <a:off x="366077" y="1432242"/>
              <a:ext cx="687151" cy="1098688"/>
            </a:xfrm>
            <a:prstGeom prst="rect">
              <a:avLst/>
            </a:prstGeom>
          </p:spPr>
          <p:txBody>
            <a:bodyPr wrap="none">
              <a:spAutoFit/>
            </a:bodyPr>
            <a:lstStyle/>
            <a:p>
              <a:pPr marL="0" marR="0" lvl="0" indent="0" defTabSz="932688" eaLnBrk="1" fontAlgn="auto" latinLnBrk="0" hangingPunct="1">
                <a:lnSpc>
                  <a:spcPct val="100000"/>
                </a:lnSpc>
                <a:spcBef>
                  <a:spcPts val="0"/>
                </a:spcBef>
                <a:spcAft>
                  <a:spcPts val="0"/>
                </a:spcAft>
                <a:buClrTx/>
                <a:buSzTx/>
                <a:buFontTx/>
                <a:buNone/>
                <a:tabLst/>
                <a:defRPr/>
              </a:pPr>
              <a:r>
                <a:rPr kumimoji="0" lang="en-US" sz="6399" b="0" i="0" u="none" strike="noStrike" kern="0" cap="none" spc="-10" normalizeH="0" baseline="0" noProof="0">
                  <a:ln w="3175">
                    <a:noFill/>
                  </a:ln>
                  <a:solidFill>
                    <a:srgbClr val="0078D7"/>
                  </a:solidFill>
                  <a:effectLst/>
                  <a:uLnTx/>
                  <a:uFillTx/>
                  <a:latin typeface="Rockwell Extra Bold" panose="02060903040505020403" pitchFamily="18" charset="0"/>
                  <a:cs typeface="Segoe UI" pitchFamily="34" charset="0"/>
                </a:rPr>
                <a:t>“</a:t>
              </a:r>
              <a:endParaRPr kumimoji="0" lang="en-US" sz="6399" b="0" i="0" u="none" strike="noStrike" kern="0" cap="none" spc="0" normalizeH="0" baseline="0" noProof="0">
                <a:ln>
                  <a:noFill/>
                </a:ln>
                <a:solidFill>
                  <a:srgbClr val="0078D7"/>
                </a:solidFill>
                <a:effectLst/>
                <a:uLnTx/>
                <a:uFillTx/>
              </a:endParaRPr>
            </a:p>
          </p:txBody>
        </p:sp>
        <p:sp>
          <p:nvSpPr>
            <p:cNvPr id="92" name="Rectangle 91">
              <a:extLst>
                <a:ext uri="{FF2B5EF4-FFF2-40B4-BE49-F238E27FC236}">
                  <a16:creationId xmlns:a16="http://schemas.microsoft.com/office/drawing/2014/main" id="{BEADE804-0E8F-4E01-A596-0350E1D79B5F}"/>
                </a:ext>
                <a:ext uri="{C183D7F6-B498-43B3-948B-1728B52AA6E4}">
                  <adec:decorative xmlns:adec="http://schemas.microsoft.com/office/drawing/2017/decorative" val="1"/>
                </a:ext>
              </a:extLst>
            </p:cNvPr>
            <p:cNvSpPr/>
            <p:nvPr/>
          </p:nvSpPr>
          <p:spPr>
            <a:xfrm>
              <a:off x="3728097" y="3396602"/>
              <a:ext cx="673739" cy="1077243"/>
            </a:xfrm>
            <a:prstGeom prst="rect">
              <a:avLst/>
            </a:prstGeom>
          </p:spPr>
          <p:txBody>
            <a:bodyPr wrap="none">
              <a:spAutoFit/>
            </a:bodyPr>
            <a:lstStyle/>
            <a:p>
              <a:pPr marL="0" marR="0" lvl="0" indent="0" defTabSz="932688" eaLnBrk="1" fontAlgn="auto" latinLnBrk="0" hangingPunct="1">
                <a:lnSpc>
                  <a:spcPct val="100000"/>
                </a:lnSpc>
                <a:spcBef>
                  <a:spcPts val="0"/>
                </a:spcBef>
                <a:spcAft>
                  <a:spcPts val="0"/>
                </a:spcAft>
                <a:buClrTx/>
                <a:buSzTx/>
                <a:buFontTx/>
                <a:buNone/>
                <a:tabLst/>
                <a:defRPr/>
              </a:pPr>
              <a:r>
                <a:rPr kumimoji="0" lang="en-US" sz="6399" b="0" i="0" u="none" strike="noStrike" kern="0" cap="none" spc="-10" normalizeH="0" baseline="0" noProof="0">
                  <a:ln w="3175">
                    <a:noFill/>
                  </a:ln>
                  <a:solidFill>
                    <a:srgbClr val="0078D7"/>
                  </a:solidFill>
                  <a:effectLst/>
                  <a:uLnTx/>
                  <a:uFillTx/>
                  <a:latin typeface="Rockwell Extra Bold" panose="02060903040505020403" pitchFamily="18" charset="0"/>
                  <a:cs typeface="Segoe UI" pitchFamily="34" charset="0"/>
                </a:rPr>
                <a:t>”</a:t>
              </a:r>
              <a:endParaRPr kumimoji="0" lang="en-US" sz="6399" b="0" i="0" u="none" strike="noStrike" kern="0" cap="none" spc="0" normalizeH="0" baseline="0" noProof="0">
                <a:ln>
                  <a:noFill/>
                </a:ln>
                <a:solidFill>
                  <a:srgbClr val="0078D7"/>
                </a:solidFill>
                <a:effectLst/>
                <a:uLnTx/>
                <a:uFillTx/>
              </a:endParaRPr>
            </a:p>
          </p:txBody>
        </p:sp>
      </p:grpSp>
      <p:sp>
        <p:nvSpPr>
          <p:cNvPr id="93" name="Oval 92">
            <a:extLst>
              <a:ext uri="{FF2B5EF4-FFF2-40B4-BE49-F238E27FC236}">
                <a16:creationId xmlns:a16="http://schemas.microsoft.com/office/drawing/2014/main" id="{91BDAE95-8551-49DE-9B78-972871175E6E}"/>
              </a:ext>
              <a:ext uri="{C183D7F6-B498-43B3-948B-1728B52AA6E4}">
                <adec:decorative xmlns:adec="http://schemas.microsoft.com/office/drawing/2017/decorative" val="1"/>
              </a:ext>
            </a:extLst>
          </p:cNvPr>
          <p:cNvSpPr/>
          <p:nvPr/>
        </p:nvSpPr>
        <p:spPr bwMode="auto">
          <a:xfrm>
            <a:off x="6899339" y="1410101"/>
            <a:ext cx="4517331" cy="4534143"/>
          </a:xfrm>
          <a:prstGeom prst="ellipse">
            <a:avLst/>
          </a:prstGeom>
          <a:noFill/>
          <a:ln w="9525" cap="flat" cmpd="sng" algn="ctr">
            <a:solidFill>
              <a:srgbClr val="000000">
                <a:lumMod val="50000"/>
                <a:lumOff val="50000"/>
              </a:srgb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5B7EAABF-B8D8-4D84-A257-BB5C0218A0BD}"/>
              </a:ext>
              <a:ext uri="{C183D7F6-B498-43B3-948B-1728B52AA6E4}">
                <adec:decorative xmlns:adec="http://schemas.microsoft.com/office/drawing/2017/decorative" val="1"/>
              </a:ext>
            </a:extLst>
          </p:cNvPr>
          <p:cNvSpPr/>
          <p:nvPr/>
        </p:nvSpPr>
        <p:spPr bwMode="auto">
          <a:xfrm>
            <a:off x="7302245" y="1157435"/>
            <a:ext cx="1294846" cy="1299665"/>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a:ln>
                  <a:noFill/>
                </a:ln>
                <a:solidFill>
                  <a:srgbClr val="0078D7"/>
                </a:solidFill>
                <a:effectLst/>
                <a:uLnTx/>
                <a:uFillTx/>
                <a:latin typeface="Segoe UI"/>
                <a:ea typeface="Segoe UI" pitchFamily="34" charset="0"/>
                <a:cs typeface="Segoe UI" pitchFamily="34" charset="0"/>
              </a:rPr>
              <a:t>Build&amp; Test</a:t>
            </a:r>
          </a:p>
        </p:txBody>
      </p:sp>
      <p:grpSp>
        <p:nvGrpSpPr>
          <p:cNvPr id="95" name="Group 94">
            <a:extLst>
              <a:ext uri="{FF2B5EF4-FFF2-40B4-BE49-F238E27FC236}">
                <a16:creationId xmlns:a16="http://schemas.microsoft.com/office/drawing/2014/main" id="{33636522-710D-4092-80F3-79294E7944F3}"/>
              </a:ext>
              <a:ext uri="{C183D7F6-B498-43B3-948B-1728B52AA6E4}">
                <adec:decorative xmlns:adec="http://schemas.microsoft.com/office/drawing/2017/decorative" val="1"/>
              </a:ext>
            </a:extLst>
          </p:cNvPr>
          <p:cNvGrpSpPr/>
          <p:nvPr/>
        </p:nvGrpSpPr>
        <p:grpSpPr>
          <a:xfrm>
            <a:off x="8260782" y="2815445"/>
            <a:ext cx="1691528" cy="1853618"/>
            <a:chOff x="5375754" y="2898175"/>
            <a:chExt cx="1568588" cy="1718897"/>
          </a:xfrm>
        </p:grpSpPr>
        <p:sp>
          <p:nvSpPr>
            <p:cNvPr id="96" name="Business Trans large">
              <a:extLst>
                <a:ext uri="{FF2B5EF4-FFF2-40B4-BE49-F238E27FC236}">
                  <a16:creationId xmlns:a16="http://schemas.microsoft.com/office/drawing/2014/main" id="{806011F7-2625-4AB0-B055-4B77934E5818}"/>
                </a:ext>
              </a:extLst>
            </p:cNvPr>
            <p:cNvSpPr txBox="1"/>
            <p:nvPr/>
          </p:nvSpPr>
          <p:spPr>
            <a:xfrm>
              <a:off x="5375754" y="3228293"/>
              <a:ext cx="1568588" cy="1058660"/>
            </a:xfrm>
            <a:prstGeom prst="rect">
              <a:avLst/>
            </a:prstGeom>
            <a:noFill/>
            <a:ln w="25400">
              <a:noFill/>
              <a:miter lim="800000"/>
            </a:ln>
          </p:spPr>
          <p:txBody>
            <a:bodyPr wrap="square" lIns="0" tIns="0" rIns="0" bIns="0" rtlCol="0" anchor="ctr">
              <a:noAutofit/>
            </a:bodyPr>
            <a:lstStyle/>
            <a:p>
              <a:pPr algn="ctr" defTabSz="914016">
                <a:lnSpc>
                  <a:spcPct val="90000"/>
                </a:lnSpc>
                <a:spcBef>
                  <a:spcPts val="784"/>
                </a:spcBef>
                <a:defRPr/>
              </a:pPr>
              <a:r>
                <a:rPr lang="en-US" spc="10">
                  <a:ln w="3175">
                    <a:noFill/>
                  </a:ln>
                  <a:solidFill>
                    <a:srgbClr val="0078D7"/>
                  </a:solidFill>
                  <a:cs typeface="Segoe UI Semilight" panose="020B0402040204020203" pitchFamily="34" charset="0"/>
                </a:rPr>
                <a:t>Continuous</a:t>
              </a:r>
              <a:br>
                <a:rPr lang="en-US" spc="10">
                  <a:ln w="3175">
                    <a:noFill/>
                  </a:ln>
                  <a:solidFill>
                    <a:srgbClr val="0078D7"/>
                  </a:solidFill>
                  <a:cs typeface="Segoe UI Semilight" panose="020B0402040204020203" pitchFamily="34" charset="0"/>
                </a:rPr>
              </a:br>
              <a:r>
                <a:rPr lang="en-US" spc="10">
                  <a:ln w="3175">
                    <a:noFill/>
                  </a:ln>
                  <a:solidFill>
                    <a:srgbClr val="0078D7"/>
                  </a:solidFill>
                  <a:cs typeface="Segoe UI Semilight" panose="020B0402040204020203" pitchFamily="34" charset="0"/>
                </a:rPr>
                <a:t>Delivery</a:t>
              </a:r>
            </a:p>
          </p:txBody>
        </p:sp>
        <p:grpSp>
          <p:nvGrpSpPr>
            <p:cNvPr id="97" name="Group 96">
              <a:extLst>
                <a:ext uri="{FF2B5EF4-FFF2-40B4-BE49-F238E27FC236}">
                  <a16:creationId xmlns:a16="http://schemas.microsoft.com/office/drawing/2014/main" id="{1A192C2A-E9FE-4687-886E-CB34C5955C71}"/>
                </a:ext>
              </a:extLst>
            </p:cNvPr>
            <p:cNvGrpSpPr/>
            <p:nvPr/>
          </p:nvGrpSpPr>
          <p:grpSpPr>
            <a:xfrm>
              <a:off x="5404710" y="2898175"/>
              <a:ext cx="1513009" cy="1718897"/>
              <a:chOff x="13906501" y="3922655"/>
              <a:chExt cx="619125" cy="703377"/>
            </a:xfrm>
          </p:grpSpPr>
          <p:sp>
            <p:nvSpPr>
              <p:cNvPr id="98" name="Freeform 17">
                <a:extLst>
                  <a:ext uri="{FF2B5EF4-FFF2-40B4-BE49-F238E27FC236}">
                    <a16:creationId xmlns:a16="http://schemas.microsoft.com/office/drawing/2014/main" id="{57E27C2C-5570-4119-9366-1027EE2FFA08}"/>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000000">
                      <a:lumMod val="50000"/>
                      <a:lumOff val="50000"/>
                    </a:srgbClr>
                  </a:solidFill>
                  <a:ea typeface="MS PGothic" panose="020B0600070205080204" pitchFamily="34" charset="-128"/>
                </a:endParaRPr>
              </a:p>
            </p:txBody>
          </p:sp>
          <p:sp>
            <p:nvSpPr>
              <p:cNvPr id="99" name="Freeform 18">
                <a:extLst>
                  <a:ext uri="{FF2B5EF4-FFF2-40B4-BE49-F238E27FC236}">
                    <a16:creationId xmlns:a16="http://schemas.microsoft.com/office/drawing/2014/main" id="{E5534C37-E424-407D-9934-42549F5693B9}"/>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000000">
                      <a:lumMod val="50000"/>
                      <a:lumOff val="50000"/>
                    </a:srgbClr>
                  </a:solidFill>
                  <a:ea typeface="MS PGothic" panose="020B0600070205080204" pitchFamily="34" charset="-128"/>
                </a:endParaRPr>
              </a:p>
            </p:txBody>
          </p:sp>
          <p:sp>
            <p:nvSpPr>
              <p:cNvPr id="100" name="Line 19">
                <a:extLst>
                  <a:ext uri="{FF2B5EF4-FFF2-40B4-BE49-F238E27FC236}">
                    <a16:creationId xmlns:a16="http://schemas.microsoft.com/office/drawing/2014/main" id="{CF526DCF-BEA7-4773-B91F-0C76CFB84164}"/>
                  </a:ext>
                </a:extLst>
              </p:cNvPr>
              <p:cNvSpPr>
                <a:spLocks noChangeShapeType="1"/>
              </p:cNvSpPr>
              <p:nvPr/>
            </p:nvSpPr>
            <p:spPr bwMode="auto">
              <a:xfrm>
                <a:off x="14216063" y="4221163"/>
                <a:ext cx="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101" name="Freeform 20">
                <a:extLst>
                  <a:ext uri="{FF2B5EF4-FFF2-40B4-BE49-F238E27FC236}">
                    <a16:creationId xmlns:a16="http://schemas.microsoft.com/office/drawing/2014/main" id="{53C08A10-F421-4595-9825-C36CD6615855}"/>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000000">
                      <a:lumMod val="50000"/>
                      <a:lumOff val="50000"/>
                    </a:srgbClr>
                  </a:solidFill>
                  <a:ea typeface="MS PGothic" panose="020B0600070205080204" pitchFamily="34" charset="-128"/>
                </a:endParaRPr>
              </a:p>
            </p:txBody>
          </p:sp>
          <p:sp>
            <p:nvSpPr>
              <p:cNvPr id="102" name="Line 21">
                <a:extLst>
                  <a:ext uri="{FF2B5EF4-FFF2-40B4-BE49-F238E27FC236}">
                    <a16:creationId xmlns:a16="http://schemas.microsoft.com/office/drawing/2014/main" id="{3146D1B8-8E42-4B4B-9F25-EDA6E9665F66}"/>
                  </a:ext>
                </a:extLst>
              </p:cNvPr>
              <p:cNvSpPr>
                <a:spLocks noChangeShapeType="1"/>
              </p:cNvSpPr>
              <p:nvPr/>
            </p:nvSpPr>
            <p:spPr bwMode="auto">
              <a:xfrm>
                <a:off x="14216063" y="3967163"/>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103" name="Freeform 22">
                <a:extLst>
                  <a:ext uri="{FF2B5EF4-FFF2-40B4-BE49-F238E27FC236}">
                    <a16:creationId xmlns:a16="http://schemas.microsoft.com/office/drawing/2014/main" id="{586FA3FD-0A04-46C1-9D06-5C9EC7A22EF4}"/>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000000">
                      <a:lumMod val="50000"/>
                      <a:lumOff val="50000"/>
                    </a:srgbClr>
                  </a:solidFill>
                  <a:ea typeface="MS PGothic" panose="020B0600070205080204" pitchFamily="34" charset="-128"/>
                </a:endParaRPr>
              </a:p>
            </p:txBody>
          </p:sp>
          <p:sp>
            <p:nvSpPr>
              <p:cNvPr id="104" name="Line 23">
                <a:extLst>
                  <a:ext uri="{FF2B5EF4-FFF2-40B4-BE49-F238E27FC236}">
                    <a16:creationId xmlns:a16="http://schemas.microsoft.com/office/drawing/2014/main" id="{F5464BF0-376E-4406-8BA7-689A934ADE03}"/>
                  </a:ext>
                </a:extLst>
              </p:cNvPr>
              <p:cNvSpPr>
                <a:spLocks noChangeShapeType="1"/>
              </p:cNvSpPr>
              <p:nvPr/>
            </p:nvSpPr>
            <p:spPr bwMode="auto">
              <a:xfrm flipH="1">
                <a:off x="14177963" y="4581525"/>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grpSp>
      </p:grpSp>
      <p:sp>
        <p:nvSpPr>
          <p:cNvPr id="105" name="Oval 104">
            <a:extLst>
              <a:ext uri="{FF2B5EF4-FFF2-40B4-BE49-F238E27FC236}">
                <a16:creationId xmlns:a16="http://schemas.microsoft.com/office/drawing/2014/main" id="{2018D3E2-96D8-48C3-AED8-51ABCE0441F9}"/>
              </a:ext>
              <a:ext uri="{C183D7F6-B498-43B3-948B-1728B52AA6E4}">
                <adec:decorative xmlns:adec="http://schemas.microsoft.com/office/drawing/2017/decorative" val="1"/>
              </a:ext>
            </a:extLst>
          </p:cNvPr>
          <p:cNvSpPr/>
          <p:nvPr/>
        </p:nvSpPr>
        <p:spPr bwMode="auto">
          <a:xfrm>
            <a:off x="9520295" y="1016740"/>
            <a:ext cx="1294846" cy="1299665"/>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106" name="TextBox 105">
            <a:extLst>
              <a:ext uri="{FF2B5EF4-FFF2-40B4-BE49-F238E27FC236}">
                <a16:creationId xmlns:a16="http://schemas.microsoft.com/office/drawing/2014/main" id="{91F1CD06-DF6B-4514-90B6-D4A30A0D2713}"/>
              </a:ext>
              <a:ext uri="{C183D7F6-B498-43B3-948B-1728B52AA6E4}">
                <adec:decorative xmlns:adec="http://schemas.microsoft.com/office/drawing/2017/decorative" val="1"/>
              </a:ext>
            </a:extLst>
          </p:cNvPr>
          <p:cNvSpPr txBox="1"/>
          <p:nvPr/>
        </p:nvSpPr>
        <p:spPr>
          <a:xfrm>
            <a:off x="9686739" y="1397750"/>
            <a:ext cx="1010533" cy="517065"/>
          </a:xfrm>
          <a:prstGeom prst="rect">
            <a:avLst/>
          </a:prstGeom>
          <a:noFill/>
        </p:spPr>
        <p:txBody>
          <a:bodyPr wrap="none" lIns="182880" tIns="146304" rIns="182880" bIns="146304" rtlCol="0">
            <a:spAutoFit/>
          </a:bodyPr>
          <a:lstStyle/>
          <a:p>
            <a:pPr defTabSz="932688">
              <a:lnSpc>
                <a:spcPct val="90000"/>
              </a:lnSpc>
              <a:spcAft>
                <a:spcPts val="600"/>
              </a:spcAft>
            </a:pPr>
            <a:r>
              <a:rPr lang="en-US" sz="1600">
                <a:solidFill>
                  <a:srgbClr val="0078D7"/>
                </a:solidFill>
                <a:ea typeface="Segoe UI" pitchFamily="34" charset="0"/>
                <a:cs typeface="Segoe UI" pitchFamily="34" charset="0"/>
              </a:rPr>
              <a:t>Deploy</a:t>
            </a:r>
          </a:p>
        </p:txBody>
      </p:sp>
      <p:sp>
        <p:nvSpPr>
          <p:cNvPr id="107" name="Oval 106">
            <a:extLst>
              <a:ext uri="{FF2B5EF4-FFF2-40B4-BE49-F238E27FC236}">
                <a16:creationId xmlns:a16="http://schemas.microsoft.com/office/drawing/2014/main" id="{B5548747-3564-4631-8004-EDEF84DA57CD}"/>
              </a:ext>
              <a:ext uri="{C183D7F6-B498-43B3-948B-1728B52AA6E4}">
                <adec:decorative xmlns:adec="http://schemas.microsoft.com/office/drawing/2017/decorative" val="1"/>
              </a:ext>
            </a:extLst>
          </p:cNvPr>
          <p:cNvSpPr/>
          <p:nvPr/>
        </p:nvSpPr>
        <p:spPr bwMode="auto">
          <a:xfrm>
            <a:off x="10798648" y="3047440"/>
            <a:ext cx="1294846" cy="1299665"/>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108" name="TextBox 107">
            <a:extLst>
              <a:ext uri="{FF2B5EF4-FFF2-40B4-BE49-F238E27FC236}">
                <a16:creationId xmlns:a16="http://schemas.microsoft.com/office/drawing/2014/main" id="{7A3BE3C6-0622-493B-A032-B3318294026B}"/>
              </a:ext>
              <a:ext uri="{C183D7F6-B498-43B3-948B-1728B52AA6E4}">
                <adec:decorative xmlns:adec="http://schemas.microsoft.com/office/drawing/2017/decorative" val="1"/>
              </a:ext>
            </a:extLst>
          </p:cNvPr>
          <p:cNvSpPr txBox="1"/>
          <p:nvPr/>
        </p:nvSpPr>
        <p:spPr>
          <a:xfrm>
            <a:off x="10910209" y="3438739"/>
            <a:ext cx="1103507" cy="517065"/>
          </a:xfrm>
          <a:prstGeom prst="rect">
            <a:avLst/>
          </a:prstGeom>
          <a:noFill/>
        </p:spPr>
        <p:txBody>
          <a:bodyPr wrap="none" lIns="182880" tIns="146304" rIns="182880" bIns="146304" rtlCol="0">
            <a:spAutoFit/>
          </a:bodyPr>
          <a:lstStyle/>
          <a:p>
            <a:pPr defTabSz="932688">
              <a:lnSpc>
                <a:spcPct val="90000"/>
              </a:lnSpc>
              <a:spcAft>
                <a:spcPts val="600"/>
              </a:spcAft>
            </a:pPr>
            <a:r>
              <a:rPr lang="en-US" sz="1600">
                <a:solidFill>
                  <a:srgbClr val="0078D7"/>
                </a:solidFill>
                <a:ea typeface="Segoe UI" pitchFamily="34" charset="0"/>
                <a:cs typeface="Segoe UI" pitchFamily="34" charset="0"/>
              </a:rPr>
              <a:t>Operate</a:t>
            </a:r>
          </a:p>
        </p:txBody>
      </p:sp>
      <p:sp>
        <p:nvSpPr>
          <p:cNvPr id="109" name="Oval 108">
            <a:extLst>
              <a:ext uri="{FF2B5EF4-FFF2-40B4-BE49-F238E27FC236}">
                <a16:creationId xmlns:a16="http://schemas.microsoft.com/office/drawing/2014/main" id="{80D932BA-1123-4056-AE15-22ED90A9AA02}"/>
              </a:ext>
              <a:ext uri="{C183D7F6-B498-43B3-948B-1728B52AA6E4}">
                <adec:decorative xmlns:adec="http://schemas.microsoft.com/office/drawing/2017/decorative" val="1"/>
              </a:ext>
            </a:extLst>
          </p:cNvPr>
          <p:cNvSpPr/>
          <p:nvPr/>
        </p:nvSpPr>
        <p:spPr bwMode="auto">
          <a:xfrm>
            <a:off x="9621697" y="4921507"/>
            <a:ext cx="1294846" cy="1299665"/>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110" name="TextBox 109">
            <a:extLst>
              <a:ext uri="{FF2B5EF4-FFF2-40B4-BE49-F238E27FC236}">
                <a16:creationId xmlns:a16="http://schemas.microsoft.com/office/drawing/2014/main" id="{0A69DDF9-713B-48D6-B36C-7E0AACF3ED24}"/>
              </a:ext>
              <a:ext uri="{C183D7F6-B498-43B3-948B-1728B52AA6E4}">
                <adec:decorative xmlns:adec="http://schemas.microsoft.com/office/drawing/2017/decorative" val="1"/>
              </a:ext>
            </a:extLst>
          </p:cNvPr>
          <p:cNvSpPr txBox="1"/>
          <p:nvPr/>
        </p:nvSpPr>
        <p:spPr>
          <a:xfrm>
            <a:off x="9686739" y="5115472"/>
            <a:ext cx="1186005" cy="960263"/>
          </a:xfrm>
          <a:prstGeom prst="rect">
            <a:avLst/>
          </a:prstGeom>
          <a:noFill/>
        </p:spPr>
        <p:txBody>
          <a:bodyPr wrap="square" lIns="182880" tIns="146304" rIns="182880" bIns="146304" rtlCol="0">
            <a:spAutoFit/>
          </a:bodyPr>
          <a:lstStyle/>
          <a:p>
            <a:pPr algn="ctr" defTabSz="932688">
              <a:lnSpc>
                <a:spcPct val="90000"/>
              </a:lnSpc>
              <a:spcAft>
                <a:spcPts val="600"/>
              </a:spcAft>
            </a:pPr>
            <a:r>
              <a:rPr lang="en-US" sz="1600">
                <a:solidFill>
                  <a:srgbClr val="0078D7"/>
                </a:solidFill>
                <a:ea typeface="Segoe UI" pitchFamily="34" charset="0"/>
                <a:cs typeface="Segoe UI" pitchFamily="34" charset="0"/>
              </a:rPr>
              <a:t>Monitor </a:t>
            </a:r>
            <a:br>
              <a:rPr lang="en-US" sz="1600">
                <a:solidFill>
                  <a:srgbClr val="0078D7"/>
                </a:solidFill>
                <a:ea typeface="Segoe UI" pitchFamily="34" charset="0"/>
                <a:cs typeface="Segoe UI" pitchFamily="34" charset="0"/>
              </a:rPr>
            </a:br>
            <a:r>
              <a:rPr lang="en-US" sz="1600">
                <a:solidFill>
                  <a:srgbClr val="0078D7"/>
                </a:solidFill>
                <a:ea typeface="Segoe UI" pitchFamily="34" charset="0"/>
                <a:cs typeface="Segoe UI" pitchFamily="34" charset="0"/>
              </a:rPr>
              <a:t>&amp; </a:t>
            </a:r>
            <a:br>
              <a:rPr lang="en-US" sz="1600">
                <a:solidFill>
                  <a:srgbClr val="0078D7"/>
                </a:solidFill>
                <a:ea typeface="Segoe UI" pitchFamily="34" charset="0"/>
                <a:cs typeface="Segoe UI" pitchFamily="34" charset="0"/>
              </a:rPr>
            </a:br>
            <a:r>
              <a:rPr lang="en-US" sz="1600">
                <a:solidFill>
                  <a:srgbClr val="0078D7"/>
                </a:solidFill>
                <a:ea typeface="Segoe UI" pitchFamily="34" charset="0"/>
                <a:cs typeface="Segoe UI" pitchFamily="34" charset="0"/>
              </a:rPr>
              <a:t>Learn</a:t>
            </a:r>
          </a:p>
        </p:txBody>
      </p:sp>
      <p:sp>
        <p:nvSpPr>
          <p:cNvPr id="111" name="Oval 110">
            <a:extLst>
              <a:ext uri="{FF2B5EF4-FFF2-40B4-BE49-F238E27FC236}">
                <a16:creationId xmlns:a16="http://schemas.microsoft.com/office/drawing/2014/main" id="{F9F781BF-FE1B-4506-A2D6-AB8822CFB184}"/>
              </a:ext>
              <a:ext uri="{C183D7F6-B498-43B3-948B-1728B52AA6E4}">
                <adec:decorative xmlns:adec="http://schemas.microsoft.com/office/drawing/2017/decorative" val="1"/>
              </a:ext>
            </a:extLst>
          </p:cNvPr>
          <p:cNvSpPr/>
          <p:nvPr/>
        </p:nvSpPr>
        <p:spPr bwMode="auto">
          <a:xfrm>
            <a:off x="7304009" y="4945770"/>
            <a:ext cx="1294846" cy="1299665"/>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112" name="TextBox 111">
            <a:extLst>
              <a:ext uri="{FF2B5EF4-FFF2-40B4-BE49-F238E27FC236}">
                <a16:creationId xmlns:a16="http://schemas.microsoft.com/office/drawing/2014/main" id="{78B02B24-69C3-4838-A36D-9D08B309CB29}"/>
              </a:ext>
              <a:ext uri="{C183D7F6-B498-43B3-948B-1728B52AA6E4}">
                <adec:decorative xmlns:adec="http://schemas.microsoft.com/office/drawing/2017/decorative" val="1"/>
              </a:ext>
            </a:extLst>
          </p:cNvPr>
          <p:cNvSpPr txBox="1"/>
          <p:nvPr/>
        </p:nvSpPr>
        <p:spPr>
          <a:xfrm>
            <a:off x="7356666" y="5115470"/>
            <a:ext cx="1186005" cy="960263"/>
          </a:xfrm>
          <a:prstGeom prst="rect">
            <a:avLst/>
          </a:prstGeom>
          <a:noFill/>
        </p:spPr>
        <p:txBody>
          <a:bodyPr wrap="square" lIns="182880" tIns="146304" rIns="182880" bIns="146304" rtlCol="0">
            <a:spAutoFit/>
          </a:bodyPr>
          <a:lstStyle/>
          <a:p>
            <a:pPr algn="ctr" defTabSz="932688">
              <a:lnSpc>
                <a:spcPct val="90000"/>
              </a:lnSpc>
              <a:spcAft>
                <a:spcPts val="600"/>
              </a:spcAft>
            </a:pPr>
            <a:r>
              <a:rPr lang="en-US" sz="1600">
                <a:solidFill>
                  <a:srgbClr val="0078D7"/>
                </a:solidFill>
                <a:ea typeface="Segoe UI" pitchFamily="34" charset="0"/>
                <a:cs typeface="Segoe UI" pitchFamily="34" charset="0"/>
              </a:rPr>
              <a:t>Plan </a:t>
            </a:r>
            <a:br>
              <a:rPr lang="en-US" sz="1600">
                <a:solidFill>
                  <a:srgbClr val="0078D7"/>
                </a:solidFill>
                <a:ea typeface="Segoe UI" pitchFamily="34" charset="0"/>
                <a:cs typeface="Segoe UI" pitchFamily="34" charset="0"/>
              </a:rPr>
            </a:br>
            <a:r>
              <a:rPr lang="en-US" sz="1600">
                <a:solidFill>
                  <a:srgbClr val="0078D7"/>
                </a:solidFill>
                <a:ea typeface="Segoe UI" pitchFamily="34" charset="0"/>
                <a:cs typeface="Segoe UI" pitchFamily="34" charset="0"/>
              </a:rPr>
              <a:t>&amp; </a:t>
            </a:r>
            <a:br>
              <a:rPr lang="en-US" sz="1600">
                <a:solidFill>
                  <a:srgbClr val="0078D7"/>
                </a:solidFill>
                <a:ea typeface="Segoe UI" pitchFamily="34" charset="0"/>
                <a:cs typeface="Segoe UI" pitchFamily="34" charset="0"/>
              </a:rPr>
            </a:br>
            <a:r>
              <a:rPr lang="en-US" sz="1600">
                <a:solidFill>
                  <a:srgbClr val="0078D7"/>
                </a:solidFill>
                <a:ea typeface="Segoe UI" pitchFamily="34" charset="0"/>
                <a:cs typeface="Segoe UI" pitchFamily="34" charset="0"/>
              </a:rPr>
              <a:t>Track</a:t>
            </a:r>
          </a:p>
        </p:txBody>
      </p:sp>
      <p:sp>
        <p:nvSpPr>
          <p:cNvPr id="113" name="Oval 112">
            <a:extLst>
              <a:ext uri="{FF2B5EF4-FFF2-40B4-BE49-F238E27FC236}">
                <a16:creationId xmlns:a16="http://schemas.microsoft.com/office/drawing/2014/main" id="{9A458702-26AC-46A6-BF7C-5D056BFB7197}"/>
              </a:ext>
              <a:ext uri="{C183D7F6-B498-43B3-948B-1728B52AA6E4}">
                <adec:decorative xmlns:adec="http://schemas.microsoft.com/office/drawing/2017/decorative" val="1"/>
              </a:ext>
            </a:extLst>
          </p:cNvPr>
          <p:cNvSpPr/>
          <p:nvPr/>
        </p:nvSpPr>
        <p:spPr bwMode="auto">
          <a:xfrm>
            <a:off x="6127059" y="3074600"/>
            <a:ext cx="1294846" cy="1299665"/>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78D7"/>
              </a:solidFill>
              <a:effectLst/>
              <a:uLnTx/>
              <a:uFillTx/>
              <a:latin typeface="Segoe UI"/>
              <a:ea typeface="Segoe UI" pitchFamily="34" charset="0"/>
              <a:cs typeface="Segoe UI" pitchFamily="34" charset="0"/>
            </a:endParaRPr>
          </a:p>
        </p:txBody>
      </p:sp>
      <p:sp>
        <p:nvSpPr>
          <p:cNvPr id="114" name="TextBox 113">
            <a:extLst>
              <a:ext uri="{FF2B5EF4-FFF2-40B4-BE49-F238E27FC236}">
                <a16:creationId xmlns:a16="http://schemas.microsoft.com/office/drawing/2014/main" id="{DD4C7118-4A30-4C03-88CF-88AD8FD0F275}"/>
              </a:ext>
              <a:ext uri="{C183D7F6-B498-43B3-948B-1728B52AA6E4}">
                <adec:decorative xmlns:adec="http://schemas.microsoft.com/office/drawing/2017/decorative" val="1"/>
              </a:ext>
            </a:extLst>
          </p:cNvPr>
          <p:cNvSpPr txBox="1"/>
          <p:nvPr/>
        </p:nvSpPr>
        <p:spPr>
          <a:xfrm>
            <a:off x="6190676" y="3465533"/>
            <a:ext cx="1186005" cy="517065"/>
          </a:xfrm>
          <a:prstGeom prst="rect">
            <a:avLst/>
          </a:prstGeom>
          <a:noFill/>
        </p:spPr>
        <p:txBody>
          <a:bodyPr wrap="square" lIns="182880" tIns="146304" rIns="182880" bIns="146304" rtlCol="0">
            <a:spAutoFit/>
          </a:bodyPr>
          <a:lstStyle/>
          <a:p>
            <a:pPr algn="ctr" defTabSz="932688">
              <a:lnSpc>
                <a:spcPct val="90000"/>
              </a:lnSpc>
              <a:spcAft>
                <a:spcPts val="600"/>
              </a:spcAft>
            </a:pPr>
            <a:r>
              <a:rPr lang="en-US" sz="1600">
                <a:solidFill>
                  <a:srgbClr val="0078D7"/>
                </a:solidFill>
                <a:ea typeface="Segoe UI" pitchFamily="34" charset="0"/>
                <a:cs typeface="Segoe UI" pitchFamily="34" charset="0"/>
              </a:rPr>
              <a:t>Develop</a:t>
            </a:r>
          </a:p>
        </p:txBody>
      </p:sp>
    </p:spTree>
    <p:extLst>
      <p:ext uri="{BB962C8B-B14F-4D97-AF65-F5344CB8AC3E}">
        <p14:creationId xmlns:p14="http://schemas.microsoft.com/office/powerpoint/2010/main" val="1009367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accent3"/>
                </a:solidFill>
              </a:rPr>
              <a:t>Azure DevOps</a:t>
            </a:r>
            <a:endParaRPr lang="en-US"/>
          </a:p>
        </p:txBody>
      </p:sp>
      <p:sp>
        <p:nvSpPr>
          <p:cNvPr id="8" name="Content Placeholder 2"/>
          <p:cNvSpPr txBox="1">
            <a:spLocks/>
          </p:cNvSpPr>
          <p:nvPr/>
        </p:nvSpPr>
        <p:spPr>
          <a:xfrm>
            <a:off x="1450560" y="5488150"/>
            <a:ext cx="5827059" cy="51706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a:t>Increase productivity with powerful features</a:t>
            </a: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4639" y="1900519"/>
            <a:ext cx="8178903" cy="3454072"/>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6041" y="2067885"/>
            <a:ext cx="3338162" cy="2057398"/>
          </a:xfrm>
          <a:prstGeom prst="rect">
            <a:avLst/>
          </a:prstGeom>
        </p:spPr>
      </p:pic>
      <p:cxnSp>
        <p:nvCxnSpPr>
          <p:cNvPr id="32" name="Straight Connector 31"/>
          <p:cNvCxnSpPr/>
          <p:nvPr/>
        </p:nvCxnSpPr>
        <p:spPr>
          <a:xfrm>
            <a:off x="8585605" y="1560849"/>
            <a:ext cx="108373" cy="4319394"/>
          </a:xfrm>
          <a:prstGeom prst="line">
            <a:avLst/>
          </a:prstGeom>
          <a:ln>
            <a:headEnd type="none"/>
            <a:tailEnd type="none"/>
          </a:ln>
        </p:spPr>
        <p:style>
          <a:lnRef idx="1">
            <a:schemeClr val="accent3"/>
          </a:lnRef>
          <a:fillRef idx="0">
            <a:schemeClr val="accent3"/>
          </a:fillRef>
          <a:effectRef idx="0">
            <a:schemeClr val="accent3"/>
          </a:effectRef>
          <a:fontRef idx="minor">
            <a:schemeClr val="tx1"/>
          </a:fontRef>
        </p:style>
      </p:cxnSp>
      <p:sp>
        <p:nvSpPr>
          <p:cNvPr id="34" name="Content Placeholder 2"/>
          <p:cNvSpPr txBox="1">
            <a:spLocks/>
          </p:cNvSpPr>
          <p:nvPr/>
        </p:nvSpPr>
        <p:spPr>
          <a:xfrm>
            <a:off x="8869360" y="4472487"/>
            <a:ext cx="3346242" cy="1015663"/>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000"/>
              <a:t>Code in any IDE/language and build applications for any target platform. </a:t>
            </a:r>
          </a:p>
        </p:txBody>
      </p:sp>
    </p:spTree>
    <p:extLst>
      <p:ext uri="{BB962C8B-B14F-4D97-AF65-F5344CB8AC3E}">
        <p14:creationId xmlns:p14="http://schemas.microsoft.com/office/powerpoint/2010/main" val="4005801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DB32FE43-934C-40BD-B03E-F7F2E05B8611}"/>
    </a:ext>
  </a:extLst>
</a:theme>
</file>

<file path=ppt/theme/theme2.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1A6D54F3-F9C7-407A-9538-6F46E67083DB}"/>
    </a:ext>
  </a:extLst>
</a:theme>
</file>

<file path=ppt/theme/theme3.xml><?xml version="1.0" encoding="utf-8"?>
<a:theme xmlns:a="http://schemas.openxmlformats.org/drawingml/2006/main" name="1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DB32FE43-934C-40BD-B03E-F7F2E05B8611}"/>
    </a:ext>
  </a:extLst>
</a:theme>
</file>

<file path=ppt/theme/theme4.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5.xml><?xml version="1.0" encoding="utf-8"?>
<a:theme xmlns:a="http://schemas.openxmlformats.org/drawingml/2006/main" name="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6.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ign_x002d_off_x0020_status xmlns="cea7764e-6bf9-427d-be15-e74097e0a61c" xsi:nil="true"/>
    <Title_x0020_URL xmlns="cea7764e-6bf9-427d-be15-e74097e0a61c">
      <Url>https://sirona.visualstudio.com/_workitems/edit/41245</Url>
      <Description>https://sirona.visualstudio.com/_workitems/edit/41245</Description>
    </Title_x0020_URL>
    <_ip_UnifiedCompliancePolicyUIAction xmlns="http://schemas.microsoft.com/sharepoint/v3" xsi:nil="true"/>
    <Mail_x0020_Sent xmlns="cea7764e-6bf9-427d-be15-e74097e0a61c">false</Mail_x0020_Sent>
    <_Flow_SignoffStatus xmlns="cea7764e-6bf9-427d-be15-e74097e0a61c" xsi:nil="true"/>
    <Comments xmlns="cea7764e-6bf9-427d-be15-e74097e0a61c" xsi:nil="true"/>
    <_ip_UnifiedCompliancePolicyProperties xmlns="http://schemas.microsoft.com/sharepoint/v3" xsi:nil="true"/>
    <Lead_x0020_Signoff xmlns="cea7764e-6bf9-427d-be15-e74097e0a61c">false</Lead_x0020_Signoff>
    <Title_x0020_ID xmlns="cea7764e-6bf9-427d-be15-e74097e0a61c">41245</Title_x0020_ID>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9A62E282DDA434E979CD3E03185182E" ma:contentTypeVersion="22" ma:contentTypeDescription="Create a new document." ma:contentTypeScope="" ma:versionID="411f8dbfa59cee283d63b31959e752b1">
  <xsd:schema xmlns:xsd="http://www.w3.org/2001/XMLSchema" xmlns:xs="http://www.w3.org/2001/XMLSchema" xmlns:p="http://schemas.microsoft.com/office/2006/metadata/properties" xmlns:ns1="http://schemas.microsoft.com/sharepoint/v3" xmlns:ns2="cea7764e-6bf9-427d-be15-e74097e0a61c" xmlns:ns3="fb9ea31f-0ab8-44ff-80d1-5777f6d9d945" targetNamespace="http://schemas.microsoft.com/office/2006/metadata/properties" ma:root="true" ma:fieldsID="492dae4bbc73fa3e5f26ae1920f661a0" ns1:_="" ns2:_="" ns3:_="">
    <xsd:import namespace="http://schemas.microsoft.com/sharepoint/v3"/>
    <xsd:import namespace="cea7764e-6bf9-427d-be15-e74097e0a61c"/>
    <xsd:import namespace="fb9ea31f-0ab8-44ff-80d1-5777f6d9d945"/>
    <xsd:element name="properties">
      <xsd:complexType>
        <xsd:sequence>
          <xsd:element name="documentManagement">
            <xsd:complexType>
              <xsd:all>
                <xsd:element ref="ns2:Title_x0020_ID" minOccurs="0"/>
                <xsd:element ref="ns2:Title_x0020_URL" minOccurs="0"/>
                <xsd:element ref="ns2:Comments" minOccurs="0"/>
                <xsd:element ref="ns2:Sign_x002d_off_x0020_status" minOccurs="0"/>
                <xsd:element ref="ns2:Mail_x0020_Sent" minOccurs="0"/>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1:_ip_UnifiedCompliancePolicyProperties" minOccurs="0"/>
                <xsd:element ref="ns1:_ip_UnifiedCompliancePolicyUIAction" minOccurs="0"/>
                <xsd:element ref="ns2:_Flow_SignoffStatus" minOccurs="0"/>
                <xsd:element ref="ns2:MediaServiceDateTaken" minOccurs="0"/>
                <xsd:element ref="ns2:Lead_x0020_Signoff"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ma:readOnly="false">
      <xsd:simpleType>
        <xsd:restriction base="dms:Note"/>
      </xsd:simpleType>
    </xsd:element>
    <xsd:element name="_ip_UnifiedCompliancePolicyUIAction" ma:index="24"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a7764e-6bf9-427d-be15-e74097e0a61c" elementFormDefault="qualified">
    <xsd:import namespace="http://schemas.microsoft.com/office/2006/documentManagement/types"/>
    <xsd:import namespace="http://schemas.microsoft.com/office/infopath/2007/PartnerControls"/>
    <xsd:element name="Title_x0020_ID" ma:index="2" nillable="true" ma:displayName="Title ID" ma:internalName="Title_x0020_ID" ma:readOnly="false">
      <xsd:simpleType>
        <xsd:restriction base="dms:Number"/>
      </xsd:simpleType>
    </xsd:element>
    <xsd:element name="Title_x0020_URL" ma:index="3" nillable="true" ma:displayName="Title URL" ma:format="Hyperlink" ma:internalName="Title_x0020_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4" nillable="true" ma:displayName="Comments" ma:internalName="Comments" ma:readOnly="false">
      <xsd:simpleType>
        <xsd:restriction base="dms:Note">
          <xsd:maxLength value="255"/>
        </xsd:restriction>
      </xsd:simpleType>
    </xsd:element>
    <xsd:element name="Sign_x002d_off_x0020_status" ma:index="5" nillable="true" ma:displayName="Sign-off status" ma:format="Dropdown" ma:internalName="Sign_x002d_off_x0020_status" ma:readOnly="false">
      <xsd:simpleType>
        <xsd:restriction base="dms:Choice">
          <xsd:enumeration value="Approve"/>
          <xsd:enumeration value="Approved with Comments"/>
          <xsd:enumeration value="Rejected with Comments"/>
        </xsd:restriction>
      </xsd:simpleType>
    </xsd:element>
    <xsd:element name="Mail_x0020_Sent" ma:index="6" nillable="true" ma:displayName="Mail Sent" ma:default="0" ma:internalName="Mail_x0020_Sent" ma:readOnly="false">
      <xsd:simpleType>
        <xsd:restriction base="dms:Boolea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hidden="true" ma:internalName="MediaServiceKeyPoints" ma:readOnly="true">
      <xsd:simpleType>
        <xsd:restriction base="dms:Note"/>
      </xsd:simpleType>
    </xsd:element>
    <xsd:element name="MediaServiceAutoTags" ma:index="19" nillable="true" ma:displayName="Tags" ma:hidden="true" ma:internalName="MediaServiceAutoTags"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hidden="true" ma:internalName="MediaServiceOCR" ma:readOnly="true">
      <xsd:simpleType>
        <xsd:restriction base="dms:Note"/>
      </xsd:simpleType>
    </xsd:element>
    <xsd:element name="_Flow_SignoffStatus" ma:index="25" nillable="true" ma:displayName="Sign-off status" ma:hidden="true" ma:internalName="Sign_x002d_off_x0020_status0" ma:readOnly="false">
      <xsd:simpleType>
        <xsd:restriction base="dms:Text"/>
      </xsd:simpleType>
    </xsd:element>
    <xsd:element name="MediaServiceDateTaken" ma:index="26" nillable="true" ma:displayName="MediaServiceDateTaken" ma:hidden="true" ma:internalName="MediaServiceDateTaken" ma:readOnly="true">
      <xsd:simpleType>
        <xsd:restriction base="dms:Text"/>
      </xsd:simpleType>
    </xsd:element>
    <xsd:element name="Lead_x0020_Signoff" ma:index="27" nillable="true" ma:displayName="Lead Signoff" ma:default="0" ma:internalName="Lead_x0020_Signoff">
      <xsd:simpleType>
        <xsd:restriction base="dms:Boolean"/>
      </xsd:simpleType>
    </xsd:element>
    <xsd:element name="MediaServiceLocation" ma:index="2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9ea31f-0ab8-44ff-80d1-5777f6d9d945" elementFormDefault="qualified">
    <xsd:import namespace="http://schemas.microsoft.com/office/2006/documentManagement/types"/>
    <xsd:import namespace="http://schemas.microsoft.com/office/infopath/2007/PartnerControls"/>
    <xsd:element name="SharedWithUsers" ma:index="1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cea7764e-6bf9-427d-be15-e74097e0a61c"/>
    <ds:schemaRef ds:uri="http://purl.org/dc/dcmitype/"/>
    <ds:schemaRef ds:uri="http://schemas.microsoft.com/office/2006/documentManagement/types"/>
    <ds:schemaRef ds:uri="http://schemas.microsoft.com/sharepoint/v3"/>
    <ds:schemaRef ds:uri="fb9ea31f-0ab8-44ff-80d1-5777f6d9d945"/>
    <ds:schemaRef ds:uri="http://purl.org/dc/elements/1.1/"/>
    <ds:schemaRef ds:uri="http://purl.org/dc/terms/"/>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CF46EDDD-3DDB-4B7C-B34B-605D99140610}">
  <ds:schemaRefs>
    <ds:schemaRef ds:uri="cea7764e-6bf9-427d-be15-e74097e0a61c"/>
    <ds:schemaRef ds:uri="fb9ea31f-0ab8-44ff-80d1-5777f6d9d94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659</TotalTime>
  <Words>3228</Words>
  <Application>Microsoft Office PowerPoint</Application>
  <PresentationFormat>Custom</PresentationFormat>
  <Paragraphs>448</Paragraphs>
  <Slides>29</Slides>
  <Notes>27</Notes>
  <HiddenSlides>3</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29</vt:i4>
      </vt:variant>
    </vt:vector>
  </HeadingPairs>
  <TitlesOfParts>
    <vt:vector size="48" baseType="lpstr">
      <vt:lpstr>Arial</vt:lpstr>
      <vt:lpstr>Calibri</vt:lpstr>
      <vt:lpstr>Calibri Light</vt:lpstr>
      <vt:lpstr>Consolas</vt:lpstr>
      <vt:lpstr>Rockwell Extra Bold</vt:lpstr>
      <vt:lpstr>Segoe Pro Semibold</vt:lpstr>
      <vt:lpstr>Segoe UI</vt:lpstr>
      <vt:lpstr>Segoe UI Light</vt:lpstr>
      <vt:lpstr>Segoe UI Semibold</vt:lpstr>
      <vt:lpstr>Segoe UI Semilight</vt:lpstr>
      <vt:lpstr>Symbol</vt:lpstr>
      <vt:lpstr>Wingdings</vt:lpstr>
      <vt:lpstr>WHITE TEMPLATE</vt:lpstr>
      <vt:lpstr>COLOR TEMPLATE</vt:lpstr>
      <vt:lpstr>1_WHITE TEMPLATE</vt:lpstr>
      <vt:lpstr>EBC_2017</vt:lpstr>
      <vt:lpstr>Azure PPT Template - 2018</vt:lpstr>
      <vt:lpstr>1_5-50203_Microsoft_Ignite_Template</vt:lpstr>
      <vt:lpstr>think-cell Slide</vt:lpstr>
      <vt:lpstr>Modernizing Applications with Containers and Orchestrators</vt:lpstr>
      <vt:lpstr>Module 6 – DevOps with Containers</vt:lpstr>
      <vt:lpstr>PowerPoint Presentation</vt:lpstr>
      <vt:lpstr>Agenda</vt:lpstr>
      <vt:lpstr>Software innovation collision</vt:lpstr>
      <vt:lpstr>DevOps view of the container advantage</vt:lpstr>
      <vt:lpstr>High performance DevOps companies achieve…</vt:lpstr>
      <vt:lpstr>What is DevOps?</vt:lpstr>
      <vt:lpstr>Azure DevOps</vt:lpstr>
      <vt:lpstr>Azure DevOps</vt:lpstr>
      <vt:lpstr>DevOps on Azure framework</vt:lpstr>
      <vt:lpstr>What technologies do I need to support DevOps?</vt:lpstr>
      <vt:lpstr>Containerized workflow pipeline  </vt:lpstr>
      <vt:lpstr>Containerized workflow pipeline with AKS/SF</vt:lpstr>
      <vt:lpstr>PowerPoint Presentation</vt:lpstr>
      <vt:lpstr>CI/CD Pipeline | Azure DevOps and AKS</vt:lpstr>
      <vt:lpstr>Demonstration: Azure Container Registry </vt:lpstr>
      <vt:lpstr>Azure DevOps Agents </vt:lpstr>
      <vt:lpstr>Build Pipeline </vt:lpstr>
      <vt:lpstr>Continuous Integration Setting </vt:lpstr>
      <vt:lpstr>Demonstration: Build Pipeline</vt:lpstr>
      <vt:lpstr>Release Pipeline</vt:lpstr>
      <vt:lpstr>Azure Pipeline Continuous Deployment Setting </vt:lpstr>
      <vt:lpstr>Demonstration: Release Pipeline</vt:lpstr>
      <vt:lpstr>Lab 6: DevOps with Containers</vt:lpstr>
      <vt:lpstr>PowerPoint Presentation</vt:lpstr>
      <vt:lpstr>Other CI/CD Walkthroughs in Jenkins</vt:lpstr>
      <vt:lpstr>Inner-Loop Development</vt:lpstr>
      <vt:lpstr>Additional resourc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6 – DevOps with Containers</dc:title>
  <dc:subject/>
  <dc:creator>Razi Rais;Kendall Roden</dc:creator>
  <cp:keywords/>
  <dc:description/>
  <cp:lastModifiedBy>Pradeep Nair</cp:lastModifiedBy>
  <cp:revision>2</cp:revision>
  <dcterms:modified xsi:type="dcterms:W3CDTF">2021-11-24T15:23:4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A62E282DDA434E979CD3E03185182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_dlc_DocIdItemGuid">
    <vt:lpwstr>105ee55d-0e7f-42ed-bad9-75582a6655d7</vt:lpwstr>
  </property>
  <property fmtid="{D5CDD505-2E9C-101B-9397-08002B2CF9AE}" pid="12" name="MSIP_Label_f42aa342-8706-4288-bd11-ebb85995028c_Enabled">
    <vt:lpwstr>True</vt:lpwstr>
  </property>
  <property fmtid="{D5CDD505-2E9C-101B-9397-08002B2CF9AE}" pid="13" name="MSIP_Label_f42aa342-8706-4288-bd11-ebb85995028c_SiteId">
    <vt:lpwstr>72f988bf-86f1-41af-91ab-2d7cd011db47</vt:lpwstr>
  </property>
  <property fmtid="{D5CDD505-2E9C-101B-9397-08002B2CF9AE}" pid="14" name="MSIP_Label_f42aa342-8706-4288-bd11-ebb85995028c_Owner">
    <vt:lpwstr>crtenn@microsoft.com</vt:lpwstr>
  </property>
  <property fmtid="{D5CDD505-2E9C-101B-9397-08002B2CF9AE}" pid="15" name="MSIP_Label_f42aa342-8706-4288-bd11-ebb85995028c_SetDate">
    <vt:lpwstr>2018-06-24T03:01:21.9824695Z</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